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6" r:id="rId4"/>
    <p:sldMasterId id="2147483680" r:id="rId5"/>
    <p:sldMasterId id="2147483745" r:id="rId6"/>
    <p:sldMasterId id="2147483759" r:id="rId7"/>
  </p:sldMasterIdLst>
  <p:notesMasterIdLst>
    <p:notesMasterId r:id="rId21"/>
  </p:notesMasterIdLst>
  <p:handoutMasterIdLst>
    <p:handoutMasterId r:id="rId22"/>
  </p:handoutMasterIdLst>
  <p:sldIdLst>
    <p:sldId id="3049" r:id="rId8"/>
    <p:sldId id="3061" r:id="rId9"/>
    <p:sldId id="3056" r:id="rId10"/>
    <p:sldId id="3040" r:id="rId11"/>
    <p:sldId id="3051" r:id="rId12"/>
    <p:sldId id="3057" r:id="rId13"/>
    <p:sldId id="3052" r:id="rId14"/>
    <p:sldId id="3054" r:id="rId15"/>
    <p:sldId id="3059" r:id="rId16"/>
    <p:sldId id="3060" r:id="rId17"/>
    <p:sldId id="3058" r:id="rId18"/>
    <p:sldId id="3053" r:id="rId19"/>
    <p:sldId id="3055" r:id="rId20"/>
  </p:sldIdLst>
  <p:sldSz cx="9906000" cy="6858000" type="A4"/>
  <p:notesSz cx="6735763" cy="98663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13E8A2-C1D9-B760-C12B-DFB0CE5A00D3}" name="アスフィール 興津 拓" initials="拓興" userId="S::okitsu@asfeel.jp::d0ef56df-4c3d-4de7-bf21-ac4875e80b9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mber" initials="m" lastIdx="1" clrIdx="0">
    <p:extLst>
      <p:ext uri="{19B8F6BF-5375-455C-9EA6-DF929625EA0E}">
        <p15:presenceInfo xmlns:p15="http://schemas.microsoft.com/office/powerpoint/2012/main" userId="memb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4"/>
    <a:srgbClr val="52A6E7"/>
    <a:srgbClr val="A0CFF8"/>
    <a:srgbClr val="9CCDF7"/>
    <a:srgbClr val="CEF5FE"/>
    <a:srgbClr val="7EC492"/>
    <a:srgbClr val="0172C2"/>
    <a:srgbClr val="FFFFFF"/>
    <a:srgbClr val="C0DAD9"/>
    <a:srgbClr val="64B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3873FE-F7B6-4407-A84E-ED6827976A3C}" v="444" dt="2025-12-03T07:03:22.912"/>
  </p1510:revLst>
</p1510:revInfo>
</file>

<file path=ppt/tableStyles.xml><?xml version="1.0" encoding="utf-8"?>
<a:tblStyleLst xmlns:a="http://schemas.openxmlformats.org/drawingml/2006/main" def="{E7964FA6-BD6D-4402-9F04-81295A2006D3}">
  <a:tblStyle styleId="{E7964FA6-BD6D-4402-9F04-81295A2006D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64" autoAdjust="0"/>
    <p:restoredTop sz="94660"/>
  </p:normalViewPr>
  <p:slideViewPr>
    <p:cSldViewPr snapToGrid="0">
      <p:cViewPr varScale="1">
        <p:scale>
          <a:sx n="96" d="100"/>
          <a:sy n="96" d="100"/>
        </p:scale>
        <p:origin x="2208" y="9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4104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アスフィール 興津 拓" userId="d0ef56df-4c3d-4de7-bf21-ac4875e80b95" providerId="ADAL" clId="{148BE914-A357-4D0F-9206-55A5A85FAD05}"/>
    <pc:docChg chg="undo custSel addSld delSld modSld sldOrd modHandout">
      <pc:chgData name="アスフィール 興津 拓" userId="d0ef56df-4c3d-4de7-bf21-ac4875e80b95" providerId="ADAL" clId="{148BE914-A357-4D0F-9206-55A5A85FAD05}" dt="2025-12-03T07:04:26.469" v="1763" actId="1076"/>
      <pc:docMkLst>
        <pc:docMk/>
      </pc:docMkLst>
      <pc:sldChg chg="addSp modSp mod">
        <pc:chgData name="アスフィール 興津 拓" userId="d0ef56df-4c3d-4de7-bf21-ac4875e80b95" providerId="ADAL" clId="{148BE914-A357-4D0F-9206-55A5A85FAD05}" dt="2025-11-14T07:59:44.457" v="1143"/>
        <pc:sldMkLst>
          <pc:docMk/>
          <pc:sldMk cId="346424476" sldId="3040"/>
        </pc:sldMkLst>
        <pc:spChg chg="add mod">
          <ac:chgData name="アスフィール 興津 拓" userId="d0ef56df-4c3d-4de7-bf21-ac4875e80b95" providerId="ADAL" clId="{148BE914-A357-4D0F-9206-55A5A85FAD05}" dt="2025-11-14T07:59:44.457" v="1143"/>
          <ac:spMkLst>
            <pc:docMk/>
            <pc:sldMk cId="346424476" sldId="3040"/>
            <ac:spMk id="4" creationId="{27DF1584-0FC1-2B0D-BF32-810DC1DD3CED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10" creationId="{77E16ABA-31C6-C5BF-1AFC-85D622EA5115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11" creationId="{330DBDCA-9260-CEE6-0801-40793FE4B65A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13" creationId="{FE1FF1E2-FC49-5C69-16C2-E666E37A5B12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25" creationId="{5F5C94A0-3B5E-AFC1-9054-187A19CCE694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31" creationId="{4B6ABEC3-57BC-99F7-CDFE-33807B25BB22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163" creationId="{A06D595C-6E40-6599-0B2C-25503571521F}"/>
          </ac:spMkLst>
        </pc:spChg>
        <pc:spChg chg="mod">
          <ac:chgData name="アスフィール 興津 拓" userId="d0ef56df-4c3d-4de7-bf21-ac4875e80b95" providerId="ADAL" clId="{148BE914-A357-4D0F-9206-55A5A85FAD05}" dt="2025-11-14T07:59:37.925" v="1142" actId="1076"/>
          <ac:spMkLst>
            <pc:docMk/>
            <pc:sldMk cId="346424476" sldId="3040"/>
            <ac:spMk id="196" creationId="{7A750B90-8A78-5A51-72D3-FD597515C5B4}"/>
          </ac:spMkLst>
        </pc:spChg>
        <pc:picChg chg="mod">
          <ac:chgData name="アスフィール 興津 拓" userId="d0ef56df-4c3d-4de7-bf21-ac4875e80b95" providerId="ADAL" clId="{148BE914-A357-4D0F-9206-55A5A85FAD05}" dt="2025-11-14T07:59:37.925" v="1142" actId="1076"/>
          <ac:picMkLst>
            <pc:docMk/>
            <pc:sldMk cId="346424476" sldId="3040"/>
            <ac:picMk id="6" creationId="{26E34F9A-C503-1FA7-C7B8-23E8C96E445B}"/>
          </ac:picMkLst>
        </pc:picChg>
        <pc:picChg chg="mod">
          <ac:chgData name="アスフィール 興津 拓" userId="d0ef56df-4c3d-4de7-bf21-ac4875e80b95" providerId="ADAL" clId="{148BE914-A357-4D0F-9206-55A5A85FAD05}" dt="2025-11-14T07:59:37.925" v="1142" actId="1076"/>
          <ac:picMkLst>
            <pc:docMk/>
            <pc:sldMk cId="346424476" sldId="3040"/>
            <ac:picMk id="8" creationId="{E66E84C8-35E8-1661-9585-A3ACFA946380}"/>
          </ac:picMkLst>
        </pc:picChg>
        <pc:picChg chg="mod">
          <ac:chgData name="アスフィール 興津 拓" userId="d0ef56df-4c3d-4de7-bf21-ac4875e80b95" providerId="ADAL" clId="{148BE914-A357-4D0F-9206-55A5A85FAD05}" dt="2025-11-14T07:59:37.925" v="1142" actId="1076"/>
          <ac:picMkLst>
            <pc:docMk/>
            <pc:sldMk cId="346424476" sldId="3040"/>
            <ac:picMk id="9" creationId="{4489A816-29CB-1757-0F39-3084EEE79609}"/>
          </ac:picMkLst>
        </pc:picChg>
      </pc:sldChg>
      <pc:sldChg chg="addSp delSp modSp del mod">
        <pc:chgData name="アスフィール 興津 拓" userId="d0ef56df-4c3d-4de7-bf21-ac4875e80b95" providerId="ADAL" clId="{148BE914-A357-4D0F-9206-55A5A85FAD05}" dt="2025-12-03T01:22:15.987" v="1255" actId="47"/>
        <pc:sldMkLst>
          <pc:docMk/>
          <pc:sldMk cId="1375998924" sldId="3047"/>
        </pc:sldMkLst>
      </pc:sldChg>
      <pc:sldChg chg="addSp delSp modSp mod">
        <pc:chgData name="アスフィール 興津 拓" userId="d0ef56df-4c3d-4de7-bf21-ac4875e80b95" providerId="ADAL" clId="{148BE914-A357-4D0F-9206-55A5A85FAD05}" dt="2025-12-03T01:55:59.104" v="1360" actId="20577"/>
        <pc:sldMkLst>
          <pc:docMk/>
          <pc:sldMk cId="1746959325" sldId="3049"/>
        </pc:sldMkLst>
        <pc:spChg chg="mod">
          <ac:chgData name="アスフィール 興津 拓" userId="d0ef56df-4c3d-4de7-bf21-ac4875e80b95" providerId="ADAL" clId="{148BE914-A357-4D0F-9206-55A5A85FAD05}" dt="2025-11-05T05:16:35.309" v="799" actId="20577"/>
          <ac:spMkLst>
            <pc:docMk/>
            <pc:sldMk cId="1746959325" sldId="3049"/>
            <ac:spMk id="4" creationId="{87266334-40C1-24F9-30B3-ECD370C38767}"/>
          </ac:spMkLst>
        </pc:spChg>
        <pc:spChg chg="add mod">
          <ac:chgData name="アスフィール 興津 拓" userId="d0ef56df-4c3d-4de7-bf21-ac4875e80b95" providerId="ADAL" clId="{148BE914-A357-4D0F-9206-55A5A85FAD05}" dt="2025-12-03T01:55:59.104" v="1360" actId="20577"/>
          <ac:spMkLst>
            <pc:docMk/>
            <pc:sldMk cId="1746959325" sldId="3049"/>
            <ac:spMk id="5" creationId="{9E2087C3-E294-1034-2704-62D4F5C0EA5B}"/>
          </ac:spMkLst>
        </pc:spChg>
      </pc:sldChg>
      <pc:sldChg chg="delSp modSp mod">
        <pc:chgData name="アスフィール 興津 拓" userId="d0ef56df-4c3d-4de7-bf21-ac4875e80b95" providerId="ADAL" clId="{148BE914-A357-4D0F-9206-55A5A85FAD05}" dt="2025-12-03T06:46:00.076" v="1480" actId="20577"/>
        <pc:sldMkLst>
          <pc:docMk/>
          <pc:sldMk cId="665449871" sldId="3052"/>
        </pc:sldMkLst>
        <pc:spChg chg="mod">
          <ac:chgData name="アスフィール 興津 拓" userId="d0ef56df-4c3d-4de7-bf21-ac4875e80b95" providerId="ADAL" clId="{148BE914-A357-4D0F-9206-55A5A85FAD05}" dt="2025-12-03T06:46:00.076" v="1480" actId="20577"/>
          <ac:spMkLst>
            <pc:docMk/>
            <pc:sldMk cId="665449871" sldId="3052"/>
            <ac:spMk id="31" creationId="{FCA4B120-795F-7E2E-17B0-9B5083705D43}"/>
          </ac:spMkLst>
        </pc:spChg>
      </pc:sldChg>
      <pc:sldChg chg="addSp delSp modSp add mod">
        <pc:chgData name="アスフィール 興津 拓" userId="d0ef56df-4c3d-4de7-bf21-ac4875e80b95" providerId="ADAL" clId="{148BE914-A357-4D0F-9206-55A5A85FAD05}" dt="2025-12-03T01:57:36.239" v="1415" actId="1076"/>
        <pc:sldMkLst>
          <pc:docMk/>
          <pc:sldMk cId="3551375091" sldId="3053"/>
        </pc:sldMkLst>
        <pc:spChg chg="add mod">
          <ac:chgData name="アスフィール 興津 拓" userId="d0ef56df-4c3d-4de7-bf21-ac4875e80b95" providerId="ADAL" clId="{148BE914-A357-4D0F-9206-55A5A85FAD05}" dt="2025-12-03T01:57:35.797" v="1414" actId="14100"/>
          <ac:spMkLst>
            <pc:docMk/>
            <pc:sldMk cId="3551375091" sldId="3053"/>
            <ac:spMk id="7" creationId="{81436A91-56AB-D590-0E7B-8DA6160871F5}"/>
          </ac:spMkLst>
        </pc:spChg>
        <pc:spChg chg="mod">
          <ac:chgData name="アスフィール 興津 拓" userId="d0ef56df-4c3d-4de7-bf21-ac4875e80b95" providerId="ADAL" clId="{148BE914-A357-4D0F-9206-55A5A85FAD05}" dt="2025-11-14T07:08:11.819" v="1141" actId="20577"/>
          <ac:spMkLst>
            <pc:docMk/>
            <pc:sldMk cId="3551375091" sldId="3053"/>
            <ac:spMk id="12" creationId="{75D906D9-C237-C7AD-6036-FEAE19FAEA38}"/>
          </ac:spMkLst>
        </pc:spChg>
        <pc:spChg chg="mod">
          <ac:chgData name="アスフィール 興津 拓" userId="d0ef56df-4c3d-4de7-bf21-ac4875e80b95" providerId="ADAL" clId="{148BE914-A357-4D0F-9206-55A5A85FAD05}" dt="2025-12-03T01:57:27.142" v="1411"/>
          <ac:spMkLst>
            <pc:docMk/>
            <pc:sldMk cId="3551375091" sldId="3053"/>
            <ac:spMk id="13" creationId="{85D918F4-3B86-7542-0C5B-1D87E0118A93}"/>
          </ac:spMkLst>
        </pc:spChg>
        <pc:spChg chg="mod">
          <ac:chgData name="アスフィール 興津 拓" userId="d0ef56df-4c3d-4de7-bf21-ac4875e80b95" providerId="ADAL" clId="{148BE914-A357-4D0F-9206-55A5A85FAD05}" dt="2025-12-03T01:57:36.239" v="1415" actId="1076"/>
          <ac:spMkLst>
            <pc:docMk/>
            <pc:sldMk cId="3551375091" sldId="3053"/>
            <ac:spMk id="17" creationId="{7937E559-CCBC-534A-F738-571F31BA2260}"/>
          </ac:spMkLst>
        </pc:spChg>
        <pc:spChg chg="mod">
          <ac:chgData name="アスフィール 興津 拓" userId="d0ef56df-4c3d-4de7-bf21-ac4875e80b95" providerId="ADAL" clId="{148BE914-A357-4D0F-9206-55A5A85FAD05}" dt="2025-12-03T01:57:14.971" v="1403" actId="1076"/>
          <ac:spMkLst>
            <pc:docMk/>
            <pc:sldMk cId="3551375091" sldId="3053"/>
            <ac:spMk id="21" creationId="{B3206F76-8843-53B3-61FB-515B2373E132}"/>
          </ac:spMkLst>
        </pc:spChg>
        <pc:spChg chg="mod">
          <ac:chgData name="アスフィール 興津 拓" userId="d0ef56df-4c3d-4de7-bf21-ac4875e80b95" providerId="ADAL" clId="{148BE914-A357-4D0F-9206-55A5A85FAD05}" dt="2025-11-04T08:59:50.982" v="770" actId="1076"/>
          <ac:spMkLst>
            <pc:docMk/>
            <pc:sldMk cId="3551375091" sldId="3053"/>
            <ac:spMk id="163" creationId="{62FB01E3-0662-2E8D-AF22-F66190BC460A}"/>
          </ac:spMkLst>
        </pc:spChg>
        <pc:picChg chg="add mod modCrop">
          <ac:chgData name="アスフィール 興津 拓" userId="d0ef56df-4c3d-4de7-bf21-ac4875e80b95" providerId="ADAL" clId="{148BE914-A357-4D0F-9206-55A5A85FAD05}" dt="2025-12-03T01:57:11.422" v="1402" actId="1076"/>
          <ac:picMkLst>
            <pc:docMk/>
            <pc:sldMk cId="3551375091" sldId="3053"/>
            <ac:picMk id="5" creationId="{E99BEC78-24AC-37C4-3291-3150B69DB92E}"/>
          </ac:picMkLst>
        </pc:picChg>
        <pc:picChg chg="del">
          <ac:chgData name="アスフィール 興津 拓" userId="d0ef56df-4c3d-4de7-bf21-ac4875e80b95" providerId="ADAL" clId="{148BE914-A357-4D0F-9206-55A5A85FAD05}" dt="2025-12-03T01:57:03.657" v="1399" actId="478"/>
          <ac:picMkLst>
            <pc:docMk/>
            <pc:sldMk cId="3551375091" sldId="3053"/>
            <ac:picMk id="11" creationId="{0EBC1D49-4CD4-C8D9-6EC0-3A36C673B2E9}"/>
          </ac:picMkLst>
        </pc:picChg>
        <pc:picChg chg="mod">
          <ac:chgData name="アスフィール 興津 拓" userId="d0ef56df-4c3d-4de7-bf21-ac4875e80b95" providerId="ADAL" clId="{148BE914-A357-4D0F-9206-55A5A85FAD05}" dt="2025-12-03T01:57:14.971" v="1403" actId="1076"/>
          <ac:picMkLst>
            <pc:docMk/>
            <pc:sldMk cId="3551375091" sldId="3053"/>
            <ac:picMk id="16" creationId="{5A915ECB-F395-6941-D9EA-DE389697AAC4}"/>
          </ac:picMkLst>
        </pc:picChg>
      </pc:sldChg>
      <pc:sldChg chg="addSp delSp modSp add mod">
        <pc:chgData name="アスフィール 興津 拓" userId="d0ef56df-4c3d-4de7-bf21-ac4875e80b95" providerId="ADAL" clId="{148BE914-A357-4D0F-9206-55A5A85FAD05}" dt="2025-11-14T07:59:59.663" v="1149" actId="20577"/>
        <pc:sldMkLst>
          <pc:docMk/>
          <pc:sldMk cId="2586399326" sldId="3054"/>
        </pc:sldMkLst>
        <pc:spChg chg="mod">
          <ac:chgData name="アスフィール 興津 拓" userId="d0ef56df-4c3d-4de7-bf21-ac4875e80b95" providerId="ADAL" clId="{148BE914-A357-4D0F-9206-55A5A85FAD05}" dt="2025-11-11T07:32:56.144" v="1071" actId="1076"/>
          <ac:spMkLst>
            <pc:docMk/>
            <pc:sldMk cId="2586399326" sldId="3054"/>
            <ac:spMk id="4" creationId="{913FAF56-680E-CD43-5500-9E2F48A86B7D}"/>
          </ac:spMkLst>
        </pc:spChg>
        <pc:spChg chg="add mod">
          <ac:chgData name="アスフィール 興津 拓" userId="d0ef56df-4c3d-4de7-bf21-ac4875e80b95" providerId="ADAL" clId="{148BE914-A357-4D0F-9206-55A5A85FAD05}" dt="2025-11-14T07:59:56.042" v="1146" actId="20577"/>
          <ac:spMkLst>
            <pc:docMk/>
            <pc:sldMk cId="2586399326" sldId="3054"/>
            <ac:spMk id="9" creationId="{BB0A9BDB-E77C-3421-953F-0C84CEF95851}"/>
          </ac:spMkLst>
        </pc:spChg>
        <pc:spChg chg="add mod">
          <ac:chgData name="アスフィール 興津 拓" userId="d0ef56df-4c3d-4de7-bf21-ac4875e80b95" providerId="ADAL" clId="{148BE914-A357-4D0F-9206-55A5A85FAD05}" dt="2025-11-14T07:59:59.663" v="1149" actId="20577"/>
          <ac:spMkLst>
            <pc:docMk/>
            <pc:sldMk cId="2586399326" sldId="3054"/>
            <ac:spMk id="13" creationId="{EAD65C9A-4C92-DF81-5A29-37CCFCB38C2A}"/>
          </ac:spMkLst>
        </pc:spChg>
        <pc:spChg chg="add mod">
          <ac:chgData name="アスフィール 興津 拓" userId="d0ef56df-4c3d-4de7-bf21-ac4875e80b95" providerId="ADAL" clId="{148BE914-A357-4D0F-9206-55A5A85FAD05}" dt="2025-11-11T07:44:53.975" v="1097" actId="20577"/>
          <ac:spMkLst>
            <pc:docMk/>
            <pc:sldMk cId="2586399326" sldId="3054"/>
            <ac:spMk id="26" creationId="{96B2D973-7EA1-53F9-6967-72D429F6FF34}"/>
          </ac:spMkLst>
        </pc:spChg>
        <pc:spChg chg="add mod">
          <ac:chgData name="アスフィール 興津 拓" userId="d0ef56df-4c3d-4de7-bf21-ac4875e80b95" providerId="ADAL" clId="{148BE914-A357-4D0F-9206-55A5A85FAD05}" dt="2025-11-11T07:32:56.144" v="1071" actId="1076"/>
          <ac:spMkLst>
            <pc:docMk/>
            <pc:sldMk cId="2586399326" sldId="3054"/>
            <ac:spMk id="29" creationId="{F80B1D8C-1708-FB43-D29F-5C98CB114CC3}"/>
          </ac:spMkLst>
        </pc:spChg>
        <pc:spChg chg="mod">
          <ac:chgData name="アスフィール 興津 拓" userId="d0ef56df-4c3d-4de7-bf21-ac4875e80b95" providerId="ADAL" clId="{148BE914-A357-4D0F-9206-55A5A85FAD05}" dt="2025-11-04T06:45:27.256" v="350" actId="1076"/>
          <ac:spMkLst>
            <pc:docMk/>
            <pc:sldMk cId="2586399326" sldId="3054"/>
            <ac:spMk id="46" creationId="{EE2A06E4-740C-6809-3E94-873181695F82}"/>
          </ac:spMkLst>
        </pc:spChg>
        <pc:spChg chg="add mod">
          <ac:chgData name="アスフィール 興津 拓" userId="d0ef56df-4c3d-4de7-bf21-ac4875e80b95" providerId="ADAL" clId="{148BE914-A357-4D0F-9206-55A5A85FAD05}" dt="2025-11-11T07:44:40.832" v="1082" actId="14100"/>
          <ac:spMkLst>
            <pc:docMk/>
            <pc:sldMk cId="2586399326" sldId="3054"/>
            <ac:spMk id="61" creationId="{142D9BFB-DE59-0C76-6674-1F792F2CCB4B}"/>
          </ac:spMkLst>
        </pc:spChg>
        <pc:picChg chg="mod">
          <ac:chgData name="アスフィール 興津 拓" userId="d0ef56df-4c3d-4de7-bf21-ac4875e80b95" providerId="ADAL" clId="{148BE914-A357-4D0F-9206-55A5A85FAD05}" dt="2025-11-11T07:32:56.144" v="1071" actId="1076"/>
          <ac:picMkLst>
            <pc:docMk/>
            <pc:sldMk cId="2586399326" sldId="3054"/>
            <ac:picMk id="45" creationId="{D0301557-41A1-A28A-6748-C258D12855A5}"/>
          </ac:picMkLst>
        </pc:picChg>
        <pc:cxnChg chg="add mod">
          <ac:chgData name="アスフィール 興津 拓" userId="d0ef56df-4c3d-4de7-bf21-ac4875e80b95" providerId="ADAL" clId="{148BE914-A357-4D0F-9206-55A5A85FAD05}" dt="2025-11-11T07:32:56.144" v="1071" actId="1076"/>
          <ac:cxnSpMkLst>
            <pc:docMk/>
            <pc:sldMk cId="2586399326" sldId="3054"/>
            <ac:cxnSpMk id="14" creationId="{D851D213-31E6-412A-9865-26D8883B47AC}"/>
          </ac:cxnSpMkLst>
        </pc:cxnChg>
        <pc:cxnChg chg="add mod">
          <ac:chgData name="アスフィール 興津 拓" userId="d0ef56df-4c3d-4de7-bf21-ac4875e80b95" providerId="ADAL" clId="{148BE914-A357-4D0F-9206-55A5A85FAD05}" dt="2025-11-11T07:32:56.144" v="1071" actId="1076"/>
          <ac:cxnSpMkLst>
            <pc:docMk/>
            <pc:sldMk cId="2586399326" sldId="3054"/>
            <ac:cxnSpMk id="18" creationId="{D968356C-4DE7-946F-7192-5C4318A489B6}"/>
          </ac:cxnSpMkLst>
        </pc:cxnChg>
      </pc:sldChg>
      <pc:sldChg chg="addSp delSp modSp add mod ord">
        <pc:chgData name="アスフィール 興津 拓" userId="d0ef56df-4c3d-4de7-bf21-ac4875e80b95" providerId="ADAL" clId="{148BE914-A357-4D0F-9206-55A5A85FAD05}" dt="2025-11-14T08:04:08.395" v="1159" actId="13926"/>
        <pc:sldMkLst>
          <pc:docMk/>
          <pc:sldMk cId="2896385389" sldId="3055"/>
        </pc:sldMkLst>
        <pc:spChg chg="mod">
          <ac:chgData name="アスフィール 興津 拓" userId="d0ef56df-4c3d-4de7-bf21-ac4875e80b95" providerId="ADAL" clId="{148BE914-A357-4D0F-9206-55A5A85FAD05}" dt="2025-11-14T07:08:05.849" v="1140" actId="20577"/>
          <ac:spMkLst>
            <pc:docMk/>
            <pc:sldMk cId="2896385389" sldId="3055"/>
            <ac:spMk id="12" creationId="{62440260-7676-C6F5-F0BC-E2C6C3AE96DA}"/>
          </ac:spMkLst>
        </pc:spChg>
        <pc:spChg chg="add mod">
          <ac:chgData name="アスフィール 興津 拓" userId="d0ef56df-4c3d-4de7-bf21-ac4875e80b95" providerId="ADAL" clId="{148BE914-A357-4D0F-9206-55A5A85FAD05}" dt="2025-11-11T07:45:21.920" v="1100"/>
          <ac:spMkLst>
            <pc:docMk/>
            <pc:sldMk cId="2896385389" sldId="3055"/>
            <ac:spMk id="13" creationId="{92B03293-9358-AB14-3322-EE9D079C1CD4}"/>
          </ac:spMkLst>
        </pc:spChg>
        <pc:spChg chg="add mod">
          <ac:chgData name="アスフィール 興津 拓" userId="d0ef56df-4c3d-4de7-bf21-ac4875e80b95" providerId="ADAL" clId="{148BE914-A357-4D0F-9206-55A5A85FAD05}" dt="2025-11-11T07:45:21.920" v="1100"/>
          <ac:spMkLst>
            <pc:docMk/>
            <pc:sldMk cId="2896385389" sldId="3055"/>
            <ac:spMk id="14" creationId="{33397156-FAA4-6859-3080-9285B3931495}"/>
          </ac:spMkLst>
        </pc:spChg>
        <pc:spChg chg="add mod">
          <ac:chgData name="アスフィール 興津 拓" userId="d0ef56df-4c3d-4de7-bf21-ac4875e80b95" providerId="ADAL" clId="{148BE914-A357-4D0F-9206-55A5A85FAD05}" dt="2025-11-11T07:45:21.920" v="1100"/>
          <ac:spMkLst>
            <pc:docMk/>
            <pc:sldMk cId="2896385389" sldId="3055"/>
            <ac:spMk id="16" creationId="{AAE61B0E-A065-B98F-1A93-EFB5F2CA08B5}"/>
          </ac:spMkLst>
        </pc:spChg>
        <pc:spChg chg="add mod">
          <ac:chgData name="アスフィール 興津 拓" userId="d0ef56df-4c3d-4de7-bf21-ac4875e80b95" providerId="ADAL" clId="{148BE914-A357-4D0F-9206-55A5A85FAD05}" dt="2025-11-14T08:00:04.734" v="1152" actId="20577"/>
          <ac:spMkLst>
            <pc:docMk/>
            <pc:sldMk cId="2896385389" sldId="3055"/>
            <ac:spMk id="17" creationId="{D81E1972-288C-9D56-8474-D76BE58FD80A}"/>
          </ac:spMkLst>
        </pc:spChg>
        <pc:spChg chg="add mod">
          <ac:chgData name="アスフィール 興津 拓" userId="d0ef56df-4c3d-4de7-bf21-ac4875e80b95" providerId="ADAL" clId="{148BE914-A357-4D0F-9206-55A5A85FAD05}" dt="2025-11-14T08:04:08.395" v="1159" actId="13926"/>
          <ac:spMkLst>
            <pc:docMk/>
            <pc:sldMk cId="2896385389" sldId="3055"/>
            <ac:spMk id="18" creationId="{FAA8A03F-F1AE-BE0F-4A4F-B30A27C82C4A}"/>
          </ac:spMkLst>
        </pc:spChg>
        <pc:spChg chg="add mod">
          <ac:chgData name="アスフィール 興津 拓" userId="d0ef56df-4c3d-4de7-bf21-ac4875e80b95" providerId="ADAL" clId="{148BE914-A357-4D0F-9206-55A5A85FAD05}" dt="2025-11-11T07:45:21.920" v="1100"/>
          <ac:spMkLst>
            <pc:docMk/>
            <pc:sldMk cId="2896385389" sldId="3055"/>
            <ac:spMk id="22" creationId="{869FF628-4FFF-390E-AFA0-DF31E110DC09}"/>
          </ac:spMkLst>
        </pc:spChg>
        <pc:spChg chg="mod">
          <ac:chgData name="アスフィール 興津 拓" userId="d0ef56df-4c3d-4de7-bf21-ac4875e80b95" providerId="ADAL" clId="{148BE914-A357-4D0F-9206-55A5A85FAD05}" dt="2025-11-04T09:00:15.188" v="773"/>
          <ac:spMkLst>
            <pc:docMk/>
            <pc:sldMk cId="2896385389" sldId="3055"/>
            <ac:spMk id="46" creationId="{1D03836C-E408-D432-41B3-F1F78F69B0AE}"/>
          </ac:spMkLst>
        </pc:spChg>
        <pc:picChg chg="add mod">
          <ac:chgData name="アスフィール 興津 拓" userId="d0ef56df-4c3d-4de7-bf21-ac4875e80b95" providerId="ADAL" clId="{148BE914-A357-4D0F-9206-55A5A85FAD05}" dt="2025-11-11T07:45:21.920" v="1100"/>
          <ac:picMkLst>
            <pc:docMk/>
            <pc:sldMk cId="2896385389" sldId="3055"/>
            <ac:picMk id="11" creationId="{108DF281-E8DC-E5FC-8BE4-C510C90920BF}"/>
          </ac:picMkLst>
        </pc:picChg>
        <pc:cxnChg chg="add mod">
          <ac:chgData name="アスフィール 興津 拓" userId="d0ef56df-4c3d-4de7-bf21-ac4875e80b95" providerId="ADAL" clId="{148BE914-A357-4D0F-9206-55A5A85FAD05}" dt="2025-11-11T07:45:21.920" v="1100"/>
          <ac:cxnSpMkLst>
            <pc:docMk/>
            <pc:sldMk cId="2896385389" sldId="3055"/>
            <ac:cxnSpMk id="19" creationId="{F4D8522C-FC4F-5E5B-23C5-05666997FD5D}"/>
          </ac:cxnSpMkLst>
        </pc:cxnChg>
        <pc:cxnChg chg="add mod">
          <ac:chgData name="アスフィール 興津 拓" userId="d0ef56df-4c3d-4de7-bf21-ac4875e80b95" providerId="ADAL" clId="{148BE914-A357-4D0F-9206-55A5A85FAD05}" dt="2025-11-11T07:45:21.920" v="1100"/>
          <ac:cxnSpMkLst>
            <pc:docMk/>
            <pc:sldMk cId="2896385389" sldId="3055"/>
            <ac:cxnSpMk id="21" creationId="{47C31EB1-909A-1593-143A-3B2A506AC907}"/>
          </ac:cxnSpMkLst>
        </pc:cxnChg>
      </pc:sldChg>
      <pc:sldChg chg="modSp add mod">
        <pc:chgData name="アスフィール 興津 拓" userId="d0ef56df-4c3d-4de7-bf21-ac4875e80b95" providerId="ADAL" clId="{148BE914-A357-4D0F-9206-55A5A85FAD05}" dt="2025-12-03T01:22:08.598" v="1254" actId="20577"/>
        <pc:sldMkLst>
          <pc:docMk/>
          <pc:sldMk cId="3323846207" sldId="3056"/>
        </pc:sldMkLst>
        <pc:spChg chg="mod">
          <ac:chgData name="アスフィール 興津 拓" userId="d0ef56df-4c3d-4de7-bf21-ac4875e80b95" providerId="ADAL" clId="{148BE914-A357-4D0F-9206-55A5A85FAD05}" dt="2025-12-03T01:22:08.598" v="1254" actId="20577"/>
          <ac:spMkLst>
            <pc:docMk/>
            <pc:sldMk cId="3323846207" sldId="3056"/>
            <ac:spMk id="4" creationId="{F7AF1D60-0D30-6C0E-BC30-2792C583060C}"/>
          </ac:spMkLst>
        </pc:spChg>
      </pc:sldChg>
      <pc:sldChg chg="modSp add mod ord">
        <pc:chgData name="アスフィール 興津 拓" userId="d0ef56df-4c3d-4de7-bf21-ac4875e80b95" providerId="ADAL" clId="{148BE914-A357-4D0F-9206-55A5A85FAD05}" dt="2025-12-03T01:23:04.645" v="1346" actId="20577"/>
        <pc:sldMkLst>
          <pc:docMk/>
          <pc:sldMk cId="3616424876" sldId="3057"/>
        </pc:sldMkLst>
        <pc:spChg chg="mod">
          <ac:chgData name="アスフィール 興津 拓" userId="d0ef56df-4c3d-4de7-bf21-ac4875e80b95" providerId="ADAL" clId="{148BE914-A357-4D0F-9206-55A5A85FAD05}" dt="2025-12-03T01:23:04.645" v="1346" actId="20577"/>
          <ac:spMkLst>
            <pc:docMk/>
            <pc:sldMk cId="3616424876" sldId="3057"/>
            <ac:spMk id="4" creationId="{130E4DB5-5754-392E-2171-738C0413C9AD}"/>
          </ac:spMkLst>
        </pc:spChg>
      </pc:sldChg>
      <pc:sldChg chg="addSp modSp add mod ord">
        <pc:chgData name="アスフィール 興津 拓" userId="d0ef56df-4c3d-4de7-bf21-ac4875e80b95" providerId="ADAL" clId="{148BE914-A357-4D0F-9206-55A5A85FAD05}" dt="2025-12-03T01:56:37.653" v="1398"/>
        <pc:sldMkLst>
          <pc:docMk/>
          <pc:sldMk cId="4051556024" sldId="3058"/>
        </pc:sldMkLst>
        <pc:spChg chg="mod">
          <ac:chgData name="アスフィール 興津 拓" userId="d0ef56df-4c3d-4de7-bf21-ac4875e80b95" providerId="ADAL" clId="{148BE914-A357-4D0F-9206-55A5A85FAD05}" dt="2025-12-03T01:56:24.947" v="1397" actId="12789"/>
          <ac:spMkLst>
            <pc:docMk/>
            <pc:sldMk cId="4051556024" sldId="3058"/>
            <ac:spMk id="4" creationId="{03E186B8-539A-EA60-80F3-D5F3F4463AB6}"/>
          </ac:spMkLst>
        </pc:spChg>
        <pc:spChg chg="add mod">
          <ac:chgData name="アスフィール 興津 拓" userId="d0ef56df-4c3d-4de7-bf21-ac4875e80b95" providerId="ADAL" clId="{148BE914-A357-4D0F-9206-55A5A85FAD05}" dt="2025-12-03T01:56:37.653" v="1398"/>
          <ac:spMkLst>
            <pc:docMk/>
            <pc:sldMk cId="4051556024" sldId="3058"/>
            <ac:spMk id="5" creationId="{A6AC666F-18E6-7752-0D2F-1301E710C2F1}"/>
          </ac:spMkLst>
        </pc:spChg>
      </pc:sldChg>
      <pc:sldChg chg="modSp add mod ord">
        <pc:chgData name="アスフィール 興津 拓" userId="d0ef56df-4c3d-4de7-bf21-ac4875e80b95" providerId="ADAL" clId="{148BE914-A357-4D0F-9206-55A5A85FAD05}" dt="2025-12-03T06:13:59.902" v="1476"/>
        <pc:sldMkLst>
          <pc:docMk/>
          <pc:sldMk cId="947516330" sldId="3059"/>
        </pc:sldMkLst>
        <pc:spChg chg="mod">
          <ac:chgData name="アスフィール 興津 拓" userId="d0ef56df-4c3d-4de7-bf21-ac4875e80b95" providerId="ADAL" clId="{148BE914-A357-4D0F-9206-55A5A85FAD05}" dt="2025-12-03T06:13:55.289" v="1474" actId="12788"/>
          <ac:spMkLst>
            <pc:docMk/>
            <pc:sldMk cId="947516330" sldId="3059"/>
            <ac:spMk id="4" creationId="{F7AF1D60-0D30-6C0E-BC30-2792C583060C}"/>
          </ac:spMkLst>
        </pc:spChg>
      </pc:sldChg>
      <pc:sldChg chg="add ord">
        <pc:chgData name="アスフィール 興津 拓" userId="d0ef56df-4c3d-4de7-bf21-ac4875e80b95" providerId="ADAL" clId="{148BE914-A357-4D0F-9206-55A5A85FAD05}" dt="2025-12-03T06:13:59.902" v="1476"/>
        <pc:sldMkLst>
          <pc:docMk/>
          <pc:sldMk cId="842601119" sldId="3060"/>
        </pc:sldMkLst>
      </pc:sldChg>
      <pc:sldChg chg="addSp delSp modSp add mod ord">
        <pc:chgData name="アスフィール 興津 拓" userId="d0ef56df-4c3d-4de7-bf21-ac4875e80b95" providerId="ADAL" clId="{148BE914-A357-4D0F-9206-55A5A85FAD05}" dt="2025-12-03T07:04:26.469" v="1763" actId="1076"/>
        <pc:sldMkLst>
          <pc:docMk/>
          <pc:sldMk cId="3559152820" sldId="3061"/>
        </pc:sldMkLst>
        <pc:spChg chg="mod">
          <ac:chgData name="アスフィール 興津 拓" userId="d0ef56df-4c3d-4de7-bf21-ac4875e80b95" providerId="ADAL" clId="{148BE914-A357-4D0F-9206-55A5A85FAD05}" dt="2025-12-03T07:01:15.873" v="1621" actId="1076"/>
          <ac:spMkLst>
            <pc:docMk/>
            <pc:sldMk cId="3559152820" sldId="3061"/>
            <ac:spMk id="5" creationId="{C96A32E8-6617-C880-8D1F-B1DC965942FB}"/>
          </ac:spMkLst>
        </pc:spChg>
        <pc:spChg chg="mod">
          <ac:chgData name="アスフィール 興津 拓" userId="d0ef56df-4c3d-4de7-bf21-ac4875e80b95" providerId="ADAL" clId="{148BE914-A357-4D0F-9206-55A5A85FAD05}" dt="2025-12-03T07:04:26.469" v="1763" actId="1076"/>
          <ac:spMkLst>
            <pc:docMk/>
            <pc:sldMk cId="3559152820" sldId="3061"/>
            <ac:spMk id="6" creationId="{045F5EA4-3B58-F59A-8698-16DC787B467D}"/>
          </ac:spMkLst>
        </pc:spChg>
        <pc:spChg chg="add del mod">
          <ac:chgData name="アスフィール 興津 拓" userId="d0ef56df-4c3d-4de7-bf21-ac4875e80b95" providerId="ADAL" clId="{148BE914-A357-4D0F-9206-55A5A85FAD05}" dt="2025-12-03T07:01:31.104" v="1625" actId="1076"/>
          <ac:spMkLst>
            <pc:docMk/>
            <pc:sldMk cId="3559152820" sldId="3061"/>
            <ac:spMk id="7" creationId="{D61CE0B6-628E-0440-03D7-58E49C901ADA}"/>
          </ac:spMkLst>
        </pc:spChg>
        <pc:spChg chg="mod">
          <ac:chgData name="アスフィール 興津 拓" userId="d0ef56df-4c3d-4de7-bf21-ac4875e80b95" providerId="ADAL" clId="{148BE914-A357-4D0F-9206-55A5A85FAD05}" dt="2025-12-03T07:01:09.776" v="1619" actId="12788"/>
          <ac:spMkLst>
            <pc:docMk/>
            <pc:sldMk cId="3559152820" sldId="3061"/>
            <ac:spMk id="11" creationId="{3D277462-5191-2CC7-6C4C-4C50812F5DBA}"/>
          </ac:spMkLst>
        </pc:spChg>
        <pc:spChg chg="add del mod">
          <ac:chgData name="アスフィール 興津 拓" userId="d0ef56df-4c3d-4de7-bf21-ac4875e80b95" providerId="ADAL" clId="{148BE914-A357-4D0F-9206-55A5A85FAD05}" dt="2025-12-03T06:59:34.524" v="1522" actId="478"/>
          <ac:spMkLst>
            <pc:docMk/>
            <pc:sldMk cId="3559152820" sldId="3061"/>
            <ac:spMk id="17" creationId="{ECD4CAC0-0883-C867-8110-E5B15B68AFA8}"/>
          </ac:spMkLst>
        </pc:spChg>
        <pc:spChg chg="mod">
          <ac:chgData name="アスフィール 興津 拓" userId="d0ef56df-4c3d-4de7-bf21-ac4875e80b95" providerId="ADAL" clId="{148BE914-A357-4D0F-9206-55A5A85FAD05}" dt="2025-12-03T07:01:13.262" v="1620" actId="14100"/>
          <ac:spMkLst>
            <pc:docMk/>
            <pc:sldMk cId="3559152820" sldId="3061"/>
            <ac:spMk id="24" creationId="{5A5CCC0C-F15D-5E68-9F9F-3C689CF1067A}"/>
          </ac:spMkLst>
        </pc:spChg>
        <pc:spChg chg="mod">
          <ac:chgData name="アスフィール 興津 拓" userId="d0ef56df-4c3d-4de7-bf21-ac4875e80b95" providerId="ADAL" clId="{148BE914-A357-4D0F-9206-55A5A85FAD05}" dt="2025-12-03T07:01:06.423" v="1617" actId="14100"/>
          <ac:spMkLst>
            <pc:docMk/>
            <pc:sldMk cId="3559152820" sldId="3061"/>
            <ac:spMk id="25" creationId="{9959B0B9-F8B5-9274-FF44-AFEF0E88086B}"/>
          </ac:spMkLst>
        </pc:spChg>
        <pc:spChg chg="add mod">
          <ac:chgData name="アスフィール 興津 拓" userId="d0ef56df-4c3d-4de7-bf21-ac4875e80b95" providerId="ADAL" clId="{148BE914-A357-4D0F-9206-55A5A85FAD05}" dt="2025-12-03T07:01:29.921" v="1624" actId="13822"/>
          <ac:spMkLst>
            <pc:docMk/>
            <pc:sldMk cId="3559152820" sldId="3061"/>
            <ac:spMk id="34" creationId="{E91695A6-6B65-FE09-D0EE-BC2022C0ED01}"/>
          </ac:spMkLst>
        </pc:spChg>
        <pc:spChg chg="add mod">
          <ac:chgData name="アスフィール 興津 拓" userId="d0ef56df-4c3d-4de7-bf21-ac4875e80b95" providerId="ADAL" clId="{148BE914-A357-4D0F-9206-55A5A85FAD05}" dt="2025-12-03T07:01:36.162" v="1629" actId="20577"/>
          <ac:spMkLst>
            <pc:docMk/>
            <pc:sldMk cId="3559152820" sldId="3061"/>
            <ac:spMk id="35" creationId="{8552F309-56C2-E5B1-AEA2-46A6EF1B807D}"/>
          </ac:spMkLst>
        </pc:spChg>
        <pc:spChg chg="mod">
          <ac:chgData name="アスフィール 興津 拓" userId="d0ef56df-4c3d-4de7-bf21-ac4875e80b95" providerId="ADAL" clId="{148BE914-A357-4D0F-9206-55A5A85FAD05}" dt="2025-12-03T07:02:45.105" v="1687" actId="1076"/>
          <ac:spMkLst>
            <pc:docMk/>
            <pc:sldMk cId="3559152820" sldId="3061"/>
            <ac:spMk id="37" creationId="{2081B9FE-B8C7-C7C6-49CA-450A1F73E243}"/>
          </ac:spMkLst>
        </pc:spChg>
        <pc:spChg chg="mod">
          <ac:chgData name="アスフィール 興津 拓" userId="d0ef56df-4c3d-4de7-bf21-ac4875e80b95" providerId="ADAL" clId="{148BE914-A357-4D0F-9206-55A5A85FAD05}" dt="2025-12-03T07:02:35.591" v="1671" actId="1076"/>
          <ac:spMkLst>
            <pc:docMk/>
            <pc:sldMk cId="3559152820" sldId="3061"/>
            <ac:spMk id="38" creationId="{C203D4A8-04BE-D8D7-1484-CB6F5F1CA92E}"/>
          </ac:spMkLst>
        </pc:spChg>
        <pc:spChg chg="add mod">
          <ac:chgData name="アスフィール 興津 拓" userId="d0ef56df-4c3d-4de7-bf21-ac4875e80b95" providerId="ADAL" clId="{148BE914-A357-4D0F-9206-55A5A85FAD05}" dt="2025-12-03T07:02:07.366" v="1662" actId="20577"/>
          <ac:spMkLst>
            <pc:docMk/>
            <pc:sldMk cId="3559152820" sldId="3061"/>
            <ac:spMk id="40" creationId="{652A4A10-9B5B-3606-1C06-3588FD6CFA22}"/>
          </ac:spMkLst>
        </pc:spChg>
        <pc:spChg chg="add mod">
          <ac:chgData name="アスフィール 興津 拓" userId="d0ef56df-4c3d-4de7-bf21-ac4875e80b95" providerId="ADAL" clId="{148BE914-A357-4D0F-9206-55A5A85FAD05}" dt="2025-12-03T07:03:05.504" v="1707" actId="20577"/>
          <ac:spMkLst>
            <pc:docMk/>
            <pc:sldMk cId="3559152820" sldId="3061"/>
            <ac:spMk id="41" creationId="{08EAFBA0-8E8F-FA78-5244-DD1C55E35725}"/>
          </ac:spMkLst>
        </pc:spChg>
        <pc:spChg chg="add mod">
          <ac:chgData name="アスフィール 興津 拓" userId="d0ef56df-4c3d-4de7-bf21-ac4875e80b95" providerId="ADAL" clId="{148BE914-A357-4D0F-9206-55A5A85FAD05}" dt="2025-12-03T07:02:20.103" v="1665" actId="20577"/>
          <ac:spMkLst>
            <pc:docMk/>
            <pc:sldMk cId="3559152820" sldId="3061"/>
            <ac:spMk id="45" creationId="{FA7C4183-3A52-EA75-62A3-5B4D9749F4A8}"/>
          </ac:spMkLst>
        </pc:spChg>
        <pc:spChg chg="add mod">
          <ac:chgData name="アスフィール 興津 拓" userId="d0ef56df-4c3d-4de7-bf21-ac4875e80b95" providerId="ADAL" clId="{148BE914-A357-4D0F-9206-55A5A85FAD05}" dt="2025-12-03T07:03:17.701" v="1746" actId="571"/>
          <ac:spMkLst>
            <pc:docMk/>
            <pc:sldMk cId="3559152820" sldId="3061"/>
            <ac:spMk id="49" creationId="{45A03EFE-9FAA-23D1-93B6-0BB87795E42B}"/>
          </ac:spMkLst>
        </pc:spChg>
        <pc:spChg chg="add mod">
          <ac:chgData name="アスフィール 興津 拓" userId="d0ef56df-4c3d-4de7-bf21-ac4875e80b95" providerId="ADAL" clId="{148BE914-A357-4D0F-9206-55A5A85FAD05}" dt="2025-12-03T07:03:17.701" v="1746" actId="571"/>
          <ac:spMkLst>
            <pc:docMk/>
            <pc:sldMk cId="3559152820" sldId="3061"/>
            <ac:spMk id="50" creationId="{C732EE0A-59D7-E187-14F7-9623AB9A0EA3}"/>
          </ac:spMkLst>
        </pc:spChg>
        <pc:spChg chg="add mod">
          <ac:chgData name="アスフィール 興津 拓" userId="d0ef56df-4c3d-4de7-bf21-ac4875e80b95" providerId="ADAL" clId="{148BE914-A357-4D0F-9206-55A5A85FAD05}" dt="2025-12-03T07:03:17.701" v="1746" actId="571"/>
          <ac:spMkLst>
            <pc:docMk/>
            <pc:sldMk cId="3559152820" sldId="3061"/>
            <ac:spMk id="51" creationId="{9567FC41-D4DB-695A-D29F-0867F0638D40}"/>
          </ac:spMkLst>
        </pc:spChg>
        <pc:spChg chg="add mod">
          <ac:chgData name="アスフィール 興津 拓" userId="d0ef56df-4c3d-4de7-bf21-ac4875e80b95" providerId="ADAL" clId="{148BE914-A357-4D0F-9206-55A5A85FAD05}" dt="2025-12-03T07:03:27.680" v="1748" actId="688"/>
          <ac:spMkLst>
            <pc:docMk/>
            <pc:sldMk cId="3559152820" sldId="3061"/>
            <ac:spMk id="52" creationId="{D7FCD054-05EE-8987-3627-C844B09B0ABD}"/>
          </ac:spMkLst>
        </pc:spChg>
        <pc:spChg chg="add mod">
          <ac:chgData name="アスフィール 興津 拓" userId="d0ef56df-4c3d-4de7-bf21-ac4875e80b95" providerId="ADAL" clId="{148BE914-A357-4D0F-9206-55A5A85FAD05}" dt="2025-12-03T07:03:37.436" v="1756" actId="20577"/>
          <ac:spMkLst>
            <pc:docMk/>
            <pc:sldMk cId="3559152820" sldId="3061"/>
            <ac:spMk id="53" creationId="{0DE932E5-F6F0-1B15-791E-F68D1448EF35}"/>
          </ac:spMkLst>
        </pc:spChg>
        <pc:cxnChg chg="del mod">
          <ac:chgData name="アスフィール 興津 拓" userId="d0ef56df-4c3d-4de7-bf21-ac4875e80b95" providerId="ADAL" clId="{148BE914-A357-4D0F-9206-55A5A85FAD05}" dt="2025-12-03T06:58:10.214" v="1506" actId="478"/>
          <ac:cxnSpMkLst>
            <pc:docMk/>
            <pc:sldMk cId="3559152820" sldId="3061"/>
            <ac:cxnSpMk id="10" creationId="{33C027C6-6BEC-3CAF-CB00-70F2C3786D8C}"/>
          </ac:cxnSpMkLst>
        </pc:cxnChg>
        <pc:cxnChg chg="del mod">
          <ac:chgData name="アスフィール 興津 拓" userId="d0ef56df-4c3d-4de7-bf21-ac4875e80b95" providerId="ADAL" clId="{148BE914-A357-4D0F-9206-55A5A85FAD05}" dt="2025-12-03T06:58:10.214" v="1506" actId="478"/>
          <ac:cxnSpMkLst>
            <pc:docMk/>
            <pc:sldMk cId="3559152820" sldId="3061"/>
            <ac:cxnSpMk id="14" creationId="{1C6E89D2-FD3E-643A-0C04-2174D8672F2D}"/>
          </ac:cxnSpMkLst>
        </pc:cxnChg>
        <pc:cxnChg chg="del mod">
          <ac:chgData name="アスフィール 興津 拓" userId="d0ef56df-4c3d-4de7-bf21-ac4875e80b95" providerId="ADAL" clId="{148BE914-A357-4D0F-9206-55A5A85FAD05}" dt="2025-12-03T07:03:42.694" v="1757" actId="478"/>
          <ac:cxnSpMkLst>
            <pc:docMk/>
            <pc:sldMk cId="3559152820" sldId="3061"/>
            <ac:cxnSpMk id="15" creationId="{B0CBDB4F-386F-7E48-F2A6-47BDE5CD0325}"/>
          </ac:cxnSpMkLst>
        </pc:cxnChg>
        <pc:cxnChg chg="add mod">
          <ac:chgData name="アスフィール 興津 拓" userId="d0ef56df-4c3d-4de7-bf21-ac4875e80b95" providerId="ADAL" clId="{148BE914-A357-4D0F-9206-55A5A85FAD05}" dt="2025-12-03T07:04:26.469" v="1763" actId="1076"/>
          <ac:cxnSpMkLst>
            <pc:docMk/>
            <pc:sldMk cId="3559152820" sldId="3061"/>
            <ac:cxnSpMk id="21" creationId="{C75ECC6C-3F09-BECE-0365-8380E07C8EAC}"/>
          </ac:cxnSpMkLst>
        </pc:cxnChg>
        <pc:cxnChg chg="add mod">
          <ac:chgData name="アスフィール 興津 拓" userId="d0ef56df-4c3d-4de7-bf21-ac4875e80b95" providerId="ADAL" clId="{148BE914-A357-4D0F-9206-55A5A85FAD05}" dt="2025-12-03T07:04:26.469" v="1763" actId="1076"/>
          <ac:cxnSpMkLst>
            <pc:docMk/>
            <pc:sldMk cId="3559152820" sldId="3061"/>
            <ac:cxnSpMk id="22" creationId="{8FB519BE-9511-265C-2919-D86E8A9475B8}"/>
          </ac:cxnSpMkLst>
        </pc:cxnChg>
        <pc:cxnChg chg="add mod">
          <ac:chgData name="アスフィール 興津 拓" userId="d0ef56df-4c3d-4de7-bf21-ac4875e80b95" providerId="ADAL" clId="{148BE914-A357-4D0F-9206-55A5A85FAD05}" dt="2025-12-03T07:04:02.098" v="1759" actId="208"/>
          <ac:cxnSpMkLst>
            <pc:docMk/>
            <pc:sldMk cId="3559152820" sldId="3061"/>
            <ac:cxnSpMk id="36" creationId="{3EEF7264-C6A5-7440-26C0-1EEDEFC469CF}"/>
          </ac:cxnSpMkLst>
        </pc:cxnChg>
        <pc:cxnChg chg="add mod">
          <ac:chgData name="アスフィール 興津 拓" userId="d0ef56df-4c3d-4de7-bf21-ac4875e80b95" providerId="ADAL" clId="{148BE914-A357-4D0F-9206-55A5A85FAD05}" dt="2025-12-03T07:03:55.968" v="1758" actId="1582"/>
          <ac:cxnSpMkLst>
            <pc:docMk/>
            <pc:sldMk cId="3559152820" sldId="3061"/>
            <ac:cxnSpMk id="42" creationId="{4A51FCC0-ACD2-11F9-7ED8-999CC50971BD}"/>
          </ac:cxnSpMkLst>
        </pc:cxnChg>
        <pc:cxnChg chg="add mod">
          <ac:chgData name="アスフィール 興津 拓" userId="d0ef56df-4c3d-4de7-bf21-ac4875e80b95" providerId="ADAL" clId="{148BE914-A357-4D0F-9206-55A5A85FAD05}" dt="2025-12-03T07:03:55.968" v="1758" actId="1582"/>
          <ac:cxnSpMkLst>
            <pc:docMk/>
            <pc:sldMk cId="3559152820" sldId="3061"/>
            <ac:cxnSpMk id="43" creationId="{2C5844D7-9E35-4B86-E4E1-86073C8C9F77}"/>
          </ac:cxnSpMkLst>
        </pc:cxnChg>
        <pc:cxnChg chg="add mod">
          <ac:chgData name="アスフィール 興津 拓" userId="d0ef56df-4c3d-4de7-bf21-ac4875e80b95" providerId="ADAL" clId="{148BE914-A357-4D0F-9206-55A5A85FAD05}" dt="2025-12-03T07:03:55.968" v="1758" actId="1582"/>
          <ac:cxnSpMkLst>
            <pc:docMk/>
            <pc:sldMk cId="3559152820" sldId="3061"/>
            <ac:cxnSpMk id="44" creationId="{652BE7EF-6C68-A98C-2B2A-B7715EF1BF52}"/>
          </ac:cxnSpMkLst>
        </pc:cxnChg>
        <pc:cxnChg chg="del mod">
          <ac:chgData name="アスフィール 興津 拓" userId="d0ef56df-4c3d-4de7-bf21-ac4875e80b95" providerId="ADAL" clId="{148BE914-A357-4D0F-9206-55A5A85FAD05}" dt="2025-12-03T07:03:42.694" v="1757" actId="478"/>
          <ac:cxnSpMkLst>
            <pc:docMk/>
            <pc:sldMk cId="3559152820" sldId="3061"/>
            <ac:cxnSpMk id="48" creationId="{DE994DBA-0A09-56A3-C4F6-F3082F88E47F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32A493C-7D3E-53B3-8F81-7880D9A1746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44A884C-C483-EA7E-D2EB-FE7B7B7201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A4A9DB6-26BB-3B7F-EDDA-A55BA55F465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01ACA1-FD8E-4AA6-885D-B0BB0ACE5C2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36432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697" tIns="90697" rIns="90697" bIns="90697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405386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64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C3035-25A9-F3C3-C7A6-0D0EE2A18B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1CB5A3-C085-EF43-CB12-74AC149474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BF68B4-3162-D80A-6A96-77085F4C78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7DBB26-7CF5-16ED-12DB-CE0056289B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2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25171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27769-5440-4529-A6C2-7EEBB4BF0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549C0D-73B5-B559-9E5D-682B6631C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D3DEBC-66A8-62CA-7A2D-2360447430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BB60C3-7965-2454-5B70-EE6AEC9E98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11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858092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CE8F1-D857-08A9-44A1-A51A9C317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91246D-B99F-D9C3-7B49-0BD8A1270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6A1990-8F68-3B9C-4147-E0CAFD3B9B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273D4-0991-6425-7A3A-70D3236841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12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97102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C4353-5D17-59E1-4C1C-03F87AE520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D40761-FB39-64F3-9CBE-A8671A64DF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35B512-22C5-6B16-33E9-1ED754326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21A0E-F150-6A3E-A152-CAD72028EE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13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548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57EBA-0827-D67C-34D8-ECD931C6F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328F85-2851-7BC6-6E15-9C0CB356F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258316-12E7-A952-D00D-0CAAA5AFFF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0BF12-52CD-8663-6751-49CA0B141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3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3023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57EBA-0827-D67C-34D8-ECD931C6F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328F85-2851-7BC6-6E15-9C0CB356F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258316-12E7-A952-D00D-0CAAA5AFFF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0BF12-52CD-8663-6751-49CA0B141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4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302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BFC7F1-37D8-EEAD-09CB-42CE3FE8E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671568-7C7A-E7F2-E3FD-12D2DBA6FD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601F0-F083-4443-ADE4-C4D49C776E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71EA89-0DA4-2F49-94C8-1ABF619C38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5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26056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28608-A7DA-E957-20BA-96B196B97F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69CA9E-E711-7ED5-B9CF-49A9315610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1B0B14-880D-F9E7-FB76-0BB40E1846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52744D-3DE3-0DA6-6184-98A00FDDA8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6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32713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5D77A-B8BD-3DF7-82EB-371EEB2AAB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EDAD5B-70D9-D228-CEF0-B2C4B0743F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83366D-0569-081C-127C-E6AAFEADDB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E54E47-88F4-9C63-4366-30A891A657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7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51924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622A0E-3B99-E171-1DE0-1BAF63F5A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D44355-7BAE-944D-29E1-D1CFB36356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B3F50C-F278-3B58-058D-A7829FBCA7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66E658-152C-1A31-E665-07E7BACF8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8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472123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57EBA-0827-D67C-34D8-ECD931C6F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328F85-2851-7BC6-6E15-9C0CB356F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258316-12E7-A952-D00D-0CAAA5AFFF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0BF12-52CD-8663-6751-49CA0B141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9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3023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9AC4C-FA09-C6D9-F2EA-6DC54E06B9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987681-BFAD-152E-209D-2292163C1C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93713" y="608013"/>
            <a:ext cx="5688012" cy="3938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177885-102C-0F47-2071-F67DFB5D8E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C1909C-3B83-EE11-DDF0-9453E79835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90711" tIns="45356" rIns="90711" bIns="45356"/>
          <a:lstStyle/>
          <a:p>
            <a:pPr algn="r" defTabSz="907114">
              <a:buClrTx/>
              <a:defRPr/>
            </a:pPr>
            <a:r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t>Notes view: </a:t>
            </a:r>
            <a:fld id="{128CEAFE-FA94-43E5-B0FF-D47E1CCDD1B4}" type="slidenum">
              <a:rPr lang="en-US" sz="800" kern="1200">
                <a:solidFill>
                  <a:srgbClr val="6E6F73"/>
                </a:solidFill>
                <a:latin typeface="Trebuchet MS"/>
                <a:ea typeface="+mn-ea"/>
              </a:rPr>
              <a:pPr algn="r" defTabSz="907114">
                <a:buClrTx/>
                <a:defRPr/>
              </a:pPr>
              <a:t>10</a:t>
            </a:fld>
            <a:endParaRPr lang="en-US" sz="800" kern="1200">
              <a:solidFill>
                <a:srgbClr val="6E6F73"/>
              </a:solidFill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6851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174222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EB060D7-0F22-4CFF-A6AC-6DE0E8830D1C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98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636073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3688A78-ABF4-4EDD-9BD5-01D4F8DB3588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296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1540" y="758952"/>
            <a:ext cx="817245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3791" y="4455621"/>
            <a:ext cx="817245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329E3773-992E-4139-B19C-610A129E14C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81223" y="4343400"/>
            <a:ext cx="80238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811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1E11AD6F-546A-4CC7-A594-B7CBE80808E7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8010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セクション見出し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758952"/>
            <a:ext cx="817245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40" y="4453128"/>
            <a:ext cx="817245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C8009FDC-E7F0-435E-AF8A-B982C33441BB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81223" y="4343400"/>
            <a:ext cx="80238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52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1540" y="1845736"/>
            <a:ext cx="4011930" cy="4023359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2060" y="1845735"/>
            <a:ext cx="4011930" cy="40233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B2914C15-DE0B-4855-B6D1-C0F459C0677E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85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40" y="1846052"/>
            <a:ext cx="401193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1540" y="2582335"/>
            <a:ext cx="4011930" cy="32867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52060" y="1846052"/>
            <a:ext cx="401193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52060" y="2582334"/>
            <a:ext cx="4011930" cy="328676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4D5D8CEE-A3DC-4744-B841-B87A1C1E49E9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8361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5DC85403-755A-44EC-81D0-E2BD84757777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3043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6" name="Rectangle 5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01B3F3-67B2-409A-A7FF-885668C2F714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734477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5" y="0"/>
            <a:ext cx="329126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282557" y="0"/>
            <a:ext cx="5200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594359"/>
            <a:ext cx="2600325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0488" y="731520"/>
            <a:ext cx="5274945" cy="525780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1475" y="2926080"/>
            <a:ext cx="2600325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78229" y="6459787"/>
            <a:ext cx="2127540" cy="365125"/>
          </a:xfrm>
        </p:spPr>
        <p:txBody>
          <a:bodyPr/>
          <a:lstStyle>
            <a:lvl1pPr algn="l">
              <a:defRPr/>
            </a:lvl1pPr>
          </a:lstStyle>
          <a:p>
            <a:pPr defTabSz="685783"/>
            <a:fld id="{997AEEF0-76F1-4694-B45E-52DF1D57E1AA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00487" y="6459787"/>
            <a:ext cx="3776663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58197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903421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3" y="491507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5074920"/>
            <a:ext cx="822198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4" y="0"/>
            <a:ext cx="9905988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1540" y="5907024"/>
            <a:ext cx="822198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9D57537C-D436-463B-B21B-507CCF8236F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764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8291B82C-4704-412E-83D9-532776CD6B06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4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CF8D316C-6050-4762-A7FA-70DC640D52B0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14088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81" y="6400800"/>
            <a:ext cx="990342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903421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412302"/>
            <a:ext cx="2135981" cy="575989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412302"/>
            <a:ext cx="6284119" cy="5759898"/>
          </a:xfrm>
        </p:spPr>
        <p:txBody>
          <a:bodyPr vert="eaVert" lIns="45720" tIns="0" rIns="45720" bIns="0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83"/>
            <a:fld id="{067066C9-7439-4DBE-8195-3279911A6B39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80954-FD5D-44CD-B4B6-797FFF6D9B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91499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12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1570"/>
            <a:ext cx="5133975" cy="788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42909"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70074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231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56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39ECE3-5911-426B-8047-01B73958A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2834778"/>
            <a:ext cx="7429500" cy="675185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F2DD7DF-2E99-48D0-AB11-3DECDFD325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7298004-CB65-4857-99AE-4DD3AB25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57797E9-958E-4C49-942F-73332B2DD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41B4566-E206-451D-BC80-E57A65E72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74D8B3-CC12-4B97-A41B-1CBFA27B603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18296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37675" y="593367"/>
            <a:ext cx="923065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37675" y="1536633"/>
            <a:ext cx="923065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95285" lvl="0" indent="-37146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90570" lvl="1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485854" lvl="2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981139" lvl="3" indent="-343948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476424" lvl="4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971709" lvl="5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466993" lvl="6" indent="-343948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962278" lvl="7" indent="-343948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457563" lvl="8" indent="-343948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US" altLang="ja" smtClean="0"/>
              <a:pPr algn="r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515787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0E760-9964-485E-A12E-12E18087204C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8597278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3339E71-0942-496B-9895-B521F7CD85E4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3323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830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884978"/>
              </p:ext>
            </p:extLst>
          </p:nvPr>
        </p:nvGraphicFramePr>
        <p:xfrm>
          <a:off x="1291" y="1589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CF84302-CAFD-427E-AA44-C5C48ED3DCB6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22679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11877" y="622803"/>
            <a:ext cx="8883347" cy="2492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46638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7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F466931E-8152-4D30-B1AC-230A6CDAFDCF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39ECE3-5911-426B-8047-01B73958A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2886715"/>
            <a:ext cx="7429500" cy="62324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F2DD7DF-2E99-48D0-AB11-3DECDFD325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7298004-CB65-4857-99AE-4DD3AB25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47F74-151A-46E6-A4A9-CFC2066DEE11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57797E9-958E-4C49-942F-73332B2DD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41B4566-E206-451D-BC80-E57A65E72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74D8B3-CC12-4B97-A41B-1CBFA27B603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1073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37675" y="593367"/>
            <a:ext cx="923065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37675" y="1536633"/>
            <a:ext cx="923065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US" altLang="ja" smtClean="0"/>
              <a:pPr algn="r"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1211705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F494F8-76DF-4A40-BE0F-9AAEC4C9EFEF}" type="datetime1">
              <a:rPr kumimoji="1" lang="ja-JP" altLang="en-US" smtClean="0"/>
              <a:t>2025/12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-US" altLang="ja" smtClean="0"/>
              <a:pPr/>
              <a:t>‹#›</a:t>
            </a:fld>
            <a:endParaRPr lang="ja" altLang="en-US"/>
          </a:p>
        </p:txBody>
      </p:sp>
    </p:spTree>
    <p:extLst>
      <p:ext uri="{BB962C8B-B14F-4D97-AF65-F5344CB8AC3E}">
        <p14:creationId xmlns:p14="http://schemas.microsoft.com/office/powerpoint/2010/main" val="250267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282458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83"/>
            <a:fld id="{D867CC1B-FD56-4067-B2C5-4583FE8BC400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411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702" r:id="rId3"/>
    <p:sldLayoutId id="2147483700" r:id="rId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18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kumimoji="1" lang="en-US" sz="12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kumimoji="1" lang="en-US" sz="12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02401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092429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43508"/>
            <a:ext cx="1204166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83"/>
            <a:fld id="{53AF7482-D823-4205-A27D-3D07141B56F8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969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5" r:id="rId4"/>
    <p:sldLayoutId id="2147483703" r:id="rId5"/>
    <p:sldLayoutId id="214748371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18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kumimoji="1" lang="en-US" sz="12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kumimoji="1" lang="en-US" sz="12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02401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kumimoji="1" lang="en-US" sz="12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kumimoji="1" lang="en-US" sz="12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9906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9" name="Rectangle 8"/>
          <p:cNvSpPr/>
          <p:nvPr/>
        </p:nvSpPr>
        <p:spPr>
          <a:xfrm>
            <a:off x="1" y="6334316"/>
            <a:ext cx="9906001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ja-JP" alt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1540" y="286605"/>
            <a:ext cx="817245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1539" y="1845734"/>
            <a:ext cx="817245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1542" y="6459787"/>
            <a:ext cx="20087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pPr defTabSz="685783"/>
            <a:fld id="{AC0DA79E-30D0-4848-8F11-A78677F0A0FD}" type="datetime1">
              <a:rPr lang="ja-JP" altLang="en-US" smtClean="0">
                <a:solidFill>
                  <a:prstClr val="white">
                    <a:lumMod val="50000"/>
                  </a:prstClr>
                </a:solidFill>
              </a:rPr>
              <a:t>2025/12/3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95026" y="6459787"/>
            <a:ext cx="39185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44123" y="6459787"/>
            <a:ext cx="10660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969745" y="1737845"/>
            <a:ext cx="809815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282458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1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 hidden="1"/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8982472" y="6405037"/>
            <a:ext cx="412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042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8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kumimoji="1"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kumimoji="1"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kumimoji="1"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8" userDrawn="1">
          <p15:clr>
            <a:srgbClr val="F26B43"/>
          </p15:clr>
        </p15:guide>
        <p15:guide id="2" pos="429" userDrawn="1">
          <p15:clr>
            <a:srgbClr val="F26B43"/>
          </p15:clr>
        </p15:guide>
        <p15:guide id="3" pos="7891" userDrawn="1">
          <p15:clr>
            <a:srgbClr val="F26B43"/>
          </p15:clr>
        </p15:guide>
        <p15:guide id="4" orient="horz" pos="517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4092429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28985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95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862889" y="6433954"/>
            <a:ext cx="1204166" cy="12497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1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742909"/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1877" y="622803"/>
            <a:ext cx="8883347" cy="2700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11877" y="1825625"/>
            <a:ext cx="8883347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982472" y="6392277"/>
            <a:ext cx="412750" cy="16664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8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83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914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42909" rtl="0" eaLnBrk="1" latinLnBrk="0" hangingPunct="1">
        <a:lnSpc>
          <a:spcPct val="90000"/>
        </a:lnSpc>
        <a:spcBef>
          <a:spcPct val="0"/>
        </a:spcBef>
        <a:buNone/>
        <a:defRPr kumimoji="1" sz="195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742909" rtl="0" eaLnBrk="1" latinLnBrk="0" hangingPunct="1">
        <a:lnSpc>
          <a:spcPct val="110000"/>
        </a:lnSpc>
        <a:spcBef>
          <a:spcPts val="487"/>
        </a:spcBef>
        <a:spcAft>
          <a:spcPts val="244"/>
        </a:spcAft>
        <a:buFont typeface="Arial" panose="020B0604020202020204" pitchFamily="34" charset="0"/>
        <a:buChar char="​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31062" indent="-140392" algn="l" defTabSz="742909" rtl="0" eaLnBrk="1" latinLnBrk="0" hangingPunct="1">
        <a:lnSpc>
          <a:spcPct val="90000"/>
        </a:lnSpc>
        <a:spcBef>
          <a:spcPts val="0"/>
        </a:spcBef>
        <a:spcAft>
          <a:spcPts val="244"/>
        </a:spcAft>
        <a:buClr>
          <a:schemeClr val="tx2"/>
        </a:buClr>
        <a:buFont typeface="Arial" panose="020B0604020202020204" pitchFamily="34" charset="0"/>
        <a:buChar char="•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415326" indent="-134543" algn="l" defTabSz="742909" rtl="0" eaLnBrk="1" latinLnBrk="0" hangingPunct="1">
        <a:lnSpc>
          <a:spcPct val="90000"/>
        </a:lnSpc>
        <a:spcBef>
          <a:spcPts val="0"/>
        </a:spcBef>
        <a:spcAft>
          <a:spcPts val="244"/>
        </a:spcAft>
        <a:buClr>
          <a:schemeClr val="tx2"/>
        </a:buClr>
        <a:buFont typeface="Trebuchet MS" panose="020B0603020202020204" pitchFamily="34" charset="0"/>
        <a:buChar char="–"/>
        <a:defRPr kumimoji="1" lang="en-US" sz="1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742909" rtl="0" eaLnBrk="1" latinLnBrk="0" hangingPunct="1">
        <a:lnSpc>
          <a:spcPct val="110000"/>
        </a:lnSpc>
        <a:spcBef>
          <a:spcPts val="244"/>
        </a:spcBef>
        <a:spcAft>
          <a:spcPts val="244"/>
        </a:spcAft>
        <a:buClr>
          <a:schemeClr val="tx2"/>
        </a:buClr>
        <a:buFont typeface="Arial" panose="020B0604020202020204" pitchFamily="34" charset="0"/>
        <a:buChar char="​"/>
        <a:defRPr kumimoji="1" lang="en-US" sz="13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742909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ClrTx/>
        <a:buFont typeface="Arial" panose="020B0604020202020204" pitchFamily="34" charset="0"/>
        <a:buChar char="​"/>
        <a:defRPr kumimoji="1" lang="en-US" sz="13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19261" indent="-123818" algn="l" defTabSz="742909" rtl="0" eaLnBrk="1" latinLnBrk="0" hangingPunct="1">
        <a:lnSpc>
          <a:spcPct val="90000"/>
        </a:lnSpc>
        <a:spcBef>
          <a:spcPts val="0"/>
        </a:spcBef>
        <a:spcAft>
          <a:spcPts val="487"/>
        </a:spcAft>
        <a:buClr>
          <a:schemeClr val="tx2"/>
        </a:buClr>
        <a:buFont typeface="Arial" panose="020B0604020202020204" pitchFamily="34" charset="0"/>
        <a:buChar char="•"/>
        <a:defRPr kumimoji="1" lang="en-US" sz="13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742909" rtl="0" eaLnBrk="1" latinLnBrk="0" hangingPunct="1">
        <a:lnSpc>
          <a:spcPct val="90000"/>
        </a:lnSpc>
        <a:spcBef>
          <a:spcPts val="731"/>
        </a:spcBef>
        <a:spcAft>
          <a:spcPts val="731"/>
        </a:spcAft>
        <a:buFont typeface="Arial" panose="020B0604020202020204" pitchFamily="34" charset="0"/>
        <a:buChar char="​"/>
        <a:defRPr kumimoji="1" lang="en-US" sz="13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742909" rtl="0" eaLnBrk="1" latinLnBrk="0" hangingPunct="1">
        <a:lnSpc>
          <a:spcPct val="90000"/>
        </a:lnSpc>
        <a:spcBef>
          <a:spcPts val="731"/>
        </a:spcBef>
        <a:spcAft>
          <a:spcPts val="0"/>
        </a:spcAft>
        <a:buFont typeface="Arial" panose="020B0604020202020204" pitchFamily="34" charset="0"/>
        <a:buChar char="​"/>
        <a:defRPr kumimoji="1" lang="en-US" sz="13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742909" rtl="0" eaLnBrk="1" latinLnBrk="0" hangingPunct="1">
        <a:lnSpc>
          <a:spcPct val="100000"/>
        </a:lnSpc>
        <a:spcBef>
          <a:spcPts val="0"/>
        </a:spcBef>
        <a:spcAft>
          <a:spcPts val="731"/>
        </a:spcAft>
        <a:buFont typeface="Arial" panose="020B0604020202020204" pitchFamily="34" charset="0"/>
        <a:buChar char="​"/>
        <a:defRPr kumimoji="1" lang="en-US" sz="13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5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09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64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17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271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2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180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635" algn="l" defTabSz="742909" rtl="0" eaLnBrk="1" latinLnBrk="0" hangingPunct="1">
        <a:defRPr kumimoji="1"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0.png"/><Relationship Id="rId5" Type="http://schemas.openxmlformats.org/officeDocument/2006/relationships/image" Target="../media/image5.png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png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7.xml"/><Relationship Id="rId7" Type="http://schemas.microsoft.com/office/2007/relationships/hdphoto" Target="../media/hdphoto1.wdp"/><Relationship Id="rId12" Type="http://schemas.openxmlformats.org/officeDocument/2006/relationships/image" Target="../media/image1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0.png"/><Relationship Id="rId11" Type="http://schemas.openxmlformats.org/officeDocument/2006/relationships/image" Target="../media/image11.png"/><Relationship Id="rId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emf"/><Relationship Id="rId1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4E2E1566-09E4-D0F7-42E3-139B85CC1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/>
              <a:pPr/>
              <a:t>1</a:t>
            </a:fld>
            <a:endParaRPr lang="ja" altLang="en-US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70D33DE-1495-952E-9FB0-0BFBBE8E0DDF}"/>
              </a:ext>
            </a:extLst>
          </p:cNvPr>
          <p:cNvSpPr txBox="1"/>
          <p:nvPr/>
        </p:nvSpPr>
        <p:spPr>
          <a:xfrm>
            <a:off x="2983524" y="6493385"/>
            <a:ext cx="3587842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 dirty="0">
                <a:solidFill>
                  <a:schemeClr val="bg1"/>
                </a:solidFill>
                <a:effectLst/>
                <a:latin typeface="ＭＳ Ｐゴシック (太字)"/>
              </a:rPr>
              <a:t>Copyright © </a:t>
            </a:r>
            <a:r>
              <a:rPr lang="en-US" altLang="ja-JP" sz="1200" dirty="0">
                <a:solidFill>
                  <a:schemeClr val="bg1"/>
                </a:solidFill>
                <a:latin typeface="ＭＳ Ｐゴシック (太字)"/>
              </a:rPr>
              <a:t>ASFEEL</a:t>
            </a:r>
            <a:r>
              <a:rPr lang="en-US" altLang="ja-JP" sz="1200" dirty="0">
                <a:solidFill>
                  <a:schemeClr val="bg1"/>
                </a:solidFill>
                <a:effectLst/>
                <a:latin typeface="ＭＳ Ｐゴシック (太字)"/>
              </a:rPr>
              <a:t> CO., LTD. </a:t>
            </a:r>
            <a:r>
              <a:rPr lang="en-US" altLang="ja-JP" sz="1200" i="0" dirty="0">
                <a:solidFill>
                  <a:schemeClr val="bg1"/>
                </a:solidFill>
                <a:effectLst/>
                <a:latin typeface="ＭＳ Ｐゴシック (太字)"/>
              </a:rPr>
              <a:t> All Rights Reserved.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7266334-40C1-24F9-30B3-ECD370C38767}"/>
              </a:ext>
            </a:extLst>
          </p:cNvPr>
          <p:cNvSpPr txBox="1"/>
          <p:nvPr/>
        </p:nvSpPr>
        <p:spPr>
          <a:xfrm>
            <a:off x="744157" y="1699592"/>
            <a:ext cx="8417689" cy="36009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4000" b="1" dirty="0"/>
              <a:t>関東高等学校体育連盟ホームページ</a:t>
            </a:r>
            <a:endParaRPr kumimoji="1" lang="en-US" altLang="ja-JP" sz="4000" b="1" dirty="0"/>
          </a:p>
          <a:p>
            <a:pPr algn="ctr"/>
            <a:r>
              <a:rPr kumimoji="1" lang="ja-JP" altLang="en-US" sz="4000" dirty="0"/>
              <a:t>大会</a:t>
            </a:r>
            <a:r>
              <a:rPr kumimoji="1" lang="ja-JP" altLang="en-US" sz="4000"/>
              <a:t>参加申込書提出マニュアル</a:t>
            </a:r>
            <a:endParaRPr kumimoji="1" lang="en-US" altLang="ja-JP" sz="4000" dirty="0"/>
          </a:p>
          <a:p>
            <a:pPr algn="ctr"/>
            <a:endParaRPr kumimoji="1" lang="en-US" altLang="ja-JP" sz="4000" dirty="0"/>
          </a:p>
          <a:p>
            <a:pPr algn="ctr"/>
            <a:r>
              <a:rPr kumimoji="1" lang="en-US" altLang="ja-JP" sz="4000" dirty="0"/>
              <a:t>【</a:t>
            </a:r>
            <a:r>
              <a:rPr kumimoji="1" lang="ja-JP" altLang="en-US" sz="4000" dirty="0"/>
              <a:t>各都県</a:t>
            </a:r>
            <a:r>
              <a:rPr kumimoji="1" lang="en-US" altLang="ja-JP" sz="4000" dirty="0"/>
              <a:t>】</a:t>
            </a:r>
            <a:r>
              <a:rPr kumimoji="1" lang="ja-JP" altLang="en-US" sz="4000" dirty="0"/>
              <a:t>専門部委員長 用</a:t>
            </a:r>
            <a:endParaRPr kumimoji="1" lang="en-US" altLang="ja-JP" sz="4000" dirty="0"/>
          </a:p>
          <a:p>
            <a:pPr algn="ctr"/>
            <a:endParaRPr kumimoji="1" lang="en-US" altLang="ja-JP" sz="4000" dirty="0"/>
          </a:p>
          <a:p>
            <a:pPr algn="ctr"/>
            <a:r>
              <a:rPr kumimoji="1" lang="ja-JP" altLang="en-US" sz="2800" dirty="0"/>
              <a:t>アスフィール株式会社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2087C3-E294-1034-2704-62D4F5C0EA5B}"/>
              </a:ext>
            </a:extLst>
          </p:cNvPr>
          <p:cNvSpPr txBox="1"/>
          <p:nvPr/>
        </p:nvSpPr>
        <p:spPr>
          <a:xfrm>
            <a:off x="1833356" y="930609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最終更新日：令和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7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年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2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月</a:t>
            </a:r>
            <a:r>
              <a:rPr lang="en-US" altLang="ja-JP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</a:t>
            </a:r>
            <a:r>
              <a:rPr lang="ja-JP" altLang="en-US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17469593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DD658-849C-E3C5-4EBD-75AFDF830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46356468-E753-A903-D957-6E893D45124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35116"/>
          <a:stretch>
            <a:fillRect/>
          </a:stretch>
        </p:blipFill>
        <p:spPr>
          <a:xfrm>
            <a:off x="204113" y="1564232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8C9AD4-E862-464D-A7C8-262B67FC90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8C9AD4-E862-464D-A7C8-262B67FC9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76DACCD1-5150-5744-3DAB-BD9A7A6F18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838FDC89-F87D-791B-59A3-5048E8701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10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3B96C0D-BCF2-AE4B-4496-6C72A6F7C64F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8300AE1-BD17-5D75-6B50-43D377238F9A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 dirty="0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 dirty="0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3F22006-F8B6-9D0C-9CCB-9D8DB394BCF4}"/>
              </a:ext>
            </a:extLst>
          </p:cNvPr>
          <p:cNvSpPr txBox="1"/>
          <p:nvPr/>
        </p:nvSpPr>
        <p:spPr>
          <a:xfrm>
            <a:off x="145883" y="712292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①大会要項・大会参加申込書様式等の書類をダウンロー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DFD212D3-E098-61A2-D022-769FC9573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B0581C7D-8874-0D5A-8A54-9A968D92ACE2}"/>
              </a:ext>
            </a:extLst>
          </p:cNvPr>
          <p:cNvSpPr txBox="1"/>
          <p:nvPr/>
        </p:nvSpPr>
        <p:spPr>
          <a:xfrm>
            <a:off x="204114" y="1127332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関東大会出場校はこちら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A3BE509E-718E-044F-2B9C-53F6B5D7483C}"/>
              </a:ext>
            </a:extLst>
          </p:cNvPr>
          <p:cNvSpPr/>
          <p:nvPr/>
        </p:nvSpPr>
        <p:spPr>
          <a:xfrm>
            <a:off x="1649413" y="4362171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246D24A-8CC8-3B40-1DE1-EEE5C1AAFA68}"/>
              </a:ext>
            </a:extLst>
          </p:cNvPr>
          <p:cNvSpPr txBox="1"/>
          <p:nvPr/>
        </p:nvSpPr>
        <p:spPr>
          <a:xfrm>
            <a:off x="4764314" y="112883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大会参加申込書のダウンロードの「こちらから」をクリック</a:t>
            </a: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29C81D8E-D1B2-094F-BF52-47E0D471EC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64314" y="1439955"/>
            <a:ext cx="2733675" cy="790681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48BB1B1D-B904-1ED2-388E-D0E7B3A562D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b="92549"/>
          <a:stretch>
            <a:fillRect/>
          </a:stretch>
        </p:blipFill>
        <p:spPr>
          <a:xfrm>
            <a:off x="4841591" y="2766316"/>
            <a:ext cx="3534474" cy="1780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C67F6469-EBE3-065C-909B-26F674099F81}"/>
              </a:ext>
            </a:extLst>
          </p:cNvPr>
          <p:cNvSpPr txBox="1"/>
          <p:nvPr/>
        </p:nvSpPr>
        <p:spPr>
          <a:xfrm>
            <a:off x="4764314" y="244328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競技を絞り込み、表示された大会名をクリック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A999B048-F66E-5025-245F-BF4BBA3C3D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48747" b="35976"/>
          <a:stretch>
            <a:fillRect/>
          </a:stretch>
        </p:blipFill>
        <p:spPr>
          <a:xfrm>
            <a:off x="4841591" y="3316970"/>
            <a:ext cx="3534474" cy="365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二等辺三角形 18">
            <a:extLst>
              <a:ext uri="{FF2B5EF4-FFF2-40B4-BE49-F238E27FC236}">
                <a16:creationId xmlns:a16="http://schemas.microsoft.com/office/drawing/2014/main" id="{1AE95AC0-DFF8-DCD3-CE3C-C1AEF82DE8E3}"/>
              </a:ext>
            </a:extLst>
          </p:cNvPr>
          <p:cNvSpPr/>
          <p:nvPr/>
        </p:nvSpPr>
        <p:spPr>
          <a:xfrm rot="10800000">
            <a:off x="5932554" y="3032975"/>
            <a:ext cx="1352550" cy="21834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CAA31AFB-C351-DD45-F4F0-F0AD5317FB9D}"/>
              </a:ext>
            </a:extLst>
          </p:cNvPr>
          <p:cNvSpPr/>
          <p:nvPr/>
        </p:nvSpPr>
        <p:spPr>
          <a:xfrm>
            <a:off x="5348514" y="2766317"/>
            <a:ext cx="965199" cy="1435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2AB49ED6-BCC0-5C5A-1540-243AD5608018}"/>
              </a:ext>
            </a:extLst>
          </p:cNvPr>
          <p:cNvSpPr/>
          <p:nvPr/>
        </p:nvSpPr>
        <p:spPr>
          <a:xfrm>
            <a:off x="5348514" y="3339901"/>
            <a:ext cx="1515067" cy="34219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75345F1-59B3-E3FB-885B-B7ACBFA4768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41591" y="4597197"/>
            <a:ext cx="4228624" cy="1202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56CFCB41-AFEB-C51C-C9B2-C0268FFE69A1}"/>
              </a:ext>
            </a:extLst>
          </p:cNvPr>
          <p:cNvSpPr txBox="1"/>
          <p:nvPr/>
        </p:nvSpPr>
        <p:spPr>
          <a:xfrm>
            <a:off x="4764313" y="4155661"/>
            <a:ext cx="43059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表示されている要項や参加申込書フォーマット等をクリックし、</a:t>
            </a:r>
            <a:endParaRPr lang="en-US" altLang="ja-JP" sz="105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ダウンロード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EAE3AD0F-FC48-36C3-9DDF-D953DA562234}"/>
              </a:ext>
            </a:extLst>
          </p:cNvPr>
          <p:cNvSpPr/>
          <p:nvPr/>
        </p:nvSpPr>
        <p:spPr>
          <a:xfrm>
            <a:off x="5610433" y="5431261"/>
            <a:ext cx="2516205" cy="34219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42601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874B5-DBB7-48BA-7B27-701A9A622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AAA86B-7494-3295-D947-5F2722B1A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AAA86B-7494-3295-D947-5F2722B1A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4C506DF3-5BE4-FC78-5537-886664FAD0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1C06BD6F-E52C-4538-1700-687D9C18A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11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014615E9-5EDA-3D7B-FA6F-BD39113A6E99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E63413B2-3999-D4C7-D54C-64A02BDD43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03E186B8-539A-EA60-80F3-D5F3F4463AB6}"/>
              </a:ext>
            </a:extLst>
          </p:cNvPr>
          <p:cNvSpPr txBox="1"/>
          <p:nvPr/>
        </p:nvSpPr>
        <p:spPr>
          <a:xfrm>
            <a:off x="2388837" y="3136613"/>
            <a:ext cx="51283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3200" b="1" dirty="0"/>
              <a:t>開催県専門部への提出方法</a:t>
            </a:r>
            <a:endParaRPr kumimoji="1" lang="en-US" altLang="ja-JP" sz="3200" b="1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6AC666F-18E6-7752-0D2F-1301E710C2F1}"/>
              </a:ext>
            </a:extLst>
          </p:cNvPr>
          <p:cNvSpPr txBox="1"/>
          <p:nvPr/>
        </p:nvSpPr>
        <p:spPr>
          <a:xfrm>
            <a:off x="601498" y="4270501"/>
            <a:ext cx="87030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TW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開催県専門部（大会本部</a:t>
            </a:r>
            <a:r>
              <a:rPr lang="ja-JP" altLang="en-US" sz="1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）に直接提出する書類がある場合はこちらの手順をご確認下さい。</a:t>
            </a:r>
            <a:endParaRPr lang="en-US" altLang="ja-JP" sz="1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1556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BEAD40-644E-6E23-3564-E5166475B3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65E144CF-B108-0F12-BC5E-D61429849AD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35116"/>
          <a:stretch>
            <a:fillRect/>
          </a:stretch>
        </p:blipFill>
        <p:spPr>
          <a:xfrm>
            <a:off x="204113" y="1564232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B24246-D086-967F-03B8-0A8ECA3406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B24246-D086-967F-03B8-0A8ECA340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D13A8056-7436-94A9-816D-F87D059A0F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15B6AEB2-D296-ECE9-5A63-240B78753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12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0363B5E-70C7-D1FC-0309-D523EF1A1B03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AF43061-3746-D35C-BEC0-DFEEB01AB7DB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lang="ja-JP" altLang="en-US" sz="2400" b="1" dirty="0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 dirty="0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5D906D9-C237-C7AD-6036-FEAE19FAEA38}"/>
              </a:ext>
            </a:extLst>
          </p:cNvPr>
          <p:cNvSpPr txBox="1"/>
          <p:nvPr/>
        </p:nvSpPr>
        <p:spPr>
          <a:xfrm>
            <a:off x="145883" y="712292"/>
            <a:ext cx="8521036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③大会申込書以外の提出（開催都県へ提出する書類がある場合）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9430330-900F-9221-7AE9-CCF490F467BB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3A7CB8C8-DC97-287D-D447-315EBCA7FEA3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AC16EDAF-3922-B885-61B4-72C793558C3D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0F157C3F-3F65-08E5-898F-C2042FC705D3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119F04E9-929C-CCE5-D9D3-D9C70EA17CDF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97327DCE-7D13-C6EB-32A7-F3770189EAAA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B2B1E86F-480E-4EC9-65F9-A4C52EC3C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62FB01E3-0662-2E8D-AF22-F66190BC460A}"/>
              </a:ext>
            </a:extLst>
          </p:cNvPr>
          <p:cNvSpPr txBox="1"/>
          <p:nvPr/>
        </p:nvSpPr>
        <p:spPr>
          <a:xfrm>
            <a:off x="204114" y="1128834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【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各都県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】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専門部委員長はこちら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16CF439D-3E88-497C-42F2-AD009ACF759E}"/>
              </a:ext>
            </a:extLst>
          </p:cNvPr>
          <p:cNvSpPr/>
          <p:nvPr/>
        </p:nvSpPr>
        <p:spPr>
          <a:xfrm>
            <a:off x="258200" y="4843462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5D918F4-3B86-7542-0C5B-1D87E0118A93}"/>
              </a:ext>
            </a:extLst>
          </p:cNvPr>
          <p:cNvSpPr txBox="1"/>
          <p:nvPr/>
        </p:nvSpPr>
        <p:spPr>
          <a:xfrm>
            <a:off x="4691743" y="112883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“参加申込書以外の書類提出”の「こちらから」をクリック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7937E559-CCBC-534A-F738-571F31BA2260}"/>
              </a:ext>
            </a:extLst>
          </p:cNvPr>
          <p:cNvSpPr txBox="1"/>
          <p:nvPr/>
        </p:nvSpPr>
        <p:spPr>
          <a:xfrm>
            <a:off x="4691743" y="3220205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該当の専門部をクリック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5A915ECB-F395-6941-D9EA-DE389697AAC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0000" t="37472" b="39782"/>
          <a:stretch>
            <a:fillRect/>
          </a:stretch>
        </p:blipFill>
        <p:spPr>
          <a:xfrm>
            <a:off x="4953000" y="3545504"/>
            <a:ext cx="2501348" cy="4935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B3206F76-8843-53B3-61FB-515B2373E132}"/>
              </a:ext>
            </a:extLst>
          </p:cNvPr>
          <p:cNvSpPr/>
          <p:nvPr/>
        </p:nvSpPr>
        <p:spPr>
          <a:xfrm>
            <a:off x="5039139" y="3654352"/>
            <a:ext cx="2295939" cy="28956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E99BEC78-24AC-37C4-3291-3150B69DB92E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r="46561"/>
          <a:stretch>
            <a:fillRect/>
          </a:stretch>
        </p:blipFill>
        <p:spPr>
          <a:xfrm>
            <a:off x="5113327" y="1475398"/>
            <a:ext cx="2728648" cy="1105054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1436A91-56AB-D590-0E7B-8DA6160871F5}"/>
              </a:ext>
            </a:extLst>
          </p:cNvPr>
          <p:cNvSpPr/>
          <p:nvPr/>
        </p:nvSpPr>
        <p:spPr>
          <a:xfrm>
            <a:off x="5353050" y="1930401"/>
            <a:ext cx="1104900" cy="4010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1375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A6E01-24E7-9FB3-04B7-8901472E7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2E6A6B-7880-18FE-8F39-640CF01F4A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2E6A6B-7880-18FE-8F39-640CF01F4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7C934116-D98B-CF9A-F3CE-1D2FE47874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B057B483-5967-C642-77B3-41788EF0F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13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D8127943-7712-D433-4CB1-F01DD243F192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F08DF10-4B6B-016B-CC85-3D0EBA18853F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2440260-7676-C6F5-F0BC-E2C6C3AE96DA}"/>
              </a:ext>
            </a:extLst>
          </p:cNvPr>
          <p:cNvSpPr txBox="1"/>
          <p:nvPr/>
        </p:nvSpPr>
        <p:spPr>
          <a:xfrm>
            <a:off x="145882" y="712292"/>
            <a:ext cx="8262622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③大会申込書以外の提出（開催都県へ提出する書類がある場合）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40CE3D19-7F09-20BA-22D7-E903B49FA59B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BCC4F713-61E6-6B71-202C-461DDD837474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9A86366-12CF-014A-7EAF-B311F4842E92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060CC738-E4CB-C3E5-0FC4-257AC078E0CF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31BDFBFA-2BF2-EB3A-E40C-0C46F11FC18A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43C77D74-22BC-1186-1B8E-B1C42FBADFC6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1B945695-81BE-0A2A-62FC-30C8CC1001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1D03836C-E408-D432-41B3-F1F78F69B0AE}"/>
              </a:ext>
            </a:extLst>
          </p:cNvPr>
          <p:cNvSpPr txBox="1"/>
          <p:nvPr/>
        </p:nvSpPr>
        <p:spPr>
          <a:xfrm>
            <a:off x="204114" y="1124091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「ファイル提出フォームへ」から申込書を提出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108DF281-E8DC-E5FC-8BE4-C510C90920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97741" y="1606054"/>
            <a:ext cx="4670788" cy="41894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2B03293-9358-AB14-3322-EE9D079C1CD4}"/>
              </a:ext>
            </a:extLst>
          </p:cNvPr>
          <p:cNvSpPr/>
          <p:nvPr/>
        </p:nvSpPr>
        <p:spPr>
          <a:xfrm>
            <a:off x="5087123" y="3444474"/>
            <a:ext cx="3305175" cy="2793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33397156-FAA4-6859-3080-9285B3931495}"/>
              </a:ext>
            </a:extLst>
          </p:cNvPr>
          <p:cNvSpPr/>
          <p:nvPr/>
        </p:nvSpPr>
        <p:spPr>
          <a:xfrm>
            <a:off x="5087123" y="3903884"/>
            <a:ext cx="3327304" cy="2793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AE61B0E-A065-B98F-1A93-EFB5F2CA08B5}"/>
              </a:ext>
            </a:extLst>
          </p:cNvPr>
          <p:cNvSpPr txBox="1"/>
          <p:nvPr/>
        </p:nvSpPr>
        <p:spPr>
          <a:xfrm>
            <a:off x="6488282" y="3467588"/>
            <a:ext cx="8666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ja-JP" sz="900" b="1" dirty="0">
                <a:solidFill>
                  <a:srgbClr val="FF0000"/>
                </a:solidFill>
              </a:rPr>
              <a:t>01</a:t>
            </a:r>
            <a:r>
              <a:rPr kumimoji="1" lang="ja-JP" altLang="en-US" sz="900" b="1" dirty="0">
                <a:solidFill>
                  <a:srgbClr val="FF0000"/>
                </a:solidFill>
              </a:rPr>
              <a:t>陸上</a:t>
            </a:r>
            <a:endParaRPr kumimoji="1" lang="en-US" altLang="ja-JP" sz="900" b="1" dirty="0">
              <a:solidFill>
                <a:srgbClr val="FF0000"/>
              </a:solidFill>
            </a:endParaRP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D81E1972-288C-9D56-8474-D76BE58FD80A}"/>
              </a:ext>
            </a:extLst>
          </p:cNvPr>
          <p:cNvSpPr/>
          <p:nvPr/>
        </p:nvSpPr>
        <p:spPr>
          <a:xfrm>
            <a:off x="137471" y="1806064"/>
            <a:ext cx="4782335" cy="1468791"/>
          </a:xfrm>
          <a:prstGeom prst="roundRect">
            <a:avLst>
              <a:gd name="adj" fmla="val 800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①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「所属（専門部・学校名）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</a:rPr>
              <a:t>プルダウンより、</a:t>
            </a:r>
            <a:r>
              <a:rPr kumimoji="1" lang="ja-JP" altLang="en-US" sz="1400" dirty="0">
                <a:solidFill>
                  <a:srgbClr val="FF0000"/>
                </a:solidFill>
              </a:rPr>
              <a:t>該当の競技専門部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選択下さい。</a:t>
            </a:r>
            <a:endParaRPr kumimoji="1" lang="en-US" altLang="ja-JP" sz="1000" dirty="0">
              <a:solidFill>
                <a:schemeClr val="tx1"/>
              </a:solidFill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AA8A03F-F1AE-BE0F-4A4F-B30A27C82C4A}"/>
              </a:ext>
            </a:extLst>
          </p:cNvPr>
          <p:cNvSpPr/>
          <p:nvPr/>
        </p:nvSpPr>
        <p:spPr>
          <a:xfrm>
            <a:off x="137471" y="3718775"/>
            <a:ext cx="4782335" cy="969118"/>
          </a:xfrm>
          <a:prstGeom prst="roundRect">
            <a:avLst>
              <a:gd name="adj" fmla="val 800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②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 「氏名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kumimoji="1" lang="ja-JP" altLang="en-US" sz="700" b="1" dirty="0">
                <a:solidFill>
                  <a:schemeClr val="tx1"/>
                </a:solidFill>
              </a:rPr>
              <a:t>　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rgbClr val="FF0000"/>
                </a:solidFill>
              </a:rPr>
              <a:t>専門委員長名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入力下さい。</a:t>
            </a:r>
            <a:endParaRPr kumimoji="1" lang="en-US" altLang="ja-JP" sz="1400" dirty="0">
              <a:solidFill>
                <a:schemeClr val="tx1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4D8522C-FC4F-5E5B-23C5-05666997FD5D}"/>
              </a:ext>
            </a:extLst>
          </p:cNvPr>
          <p:cNvCxnSpPr>
            <a:cxnSpLocks/>
            <a:stCxn id="17" idx="3"/>
            <a:endCxn id="13" idx="1"/>
          </p:cNvCxnSpPr>
          <p:nvPr/>
        </p:nvCxnSpPr>
        <p:spPr>
          <a:xfrm>
            <a:off x="4919806" y="2540460"/>
            <a:ext cx="167317" cy="104367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47C31EB1-909A-1593-143A-3B2A506AC907}"/>
              </a:ext>
            </a:extLst>
          </p:cNvPr>
          <p:cNvCxnSpPr>
            <a:cxnSpLocks/>
            <a:stCxn id="18" idx="3"/>
            <a:endCxn id="14" idx="1"/>
          </p:cNvCxnSpPr>
          <p:nvPr/>
        </p:nvCxnSpPr>
        <p:spPr>
          <a:xfrm flipV="1">
            <a:off x="4919806" y="4043541"/>
            <a:ext cx="167317" cy="15979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69FF628-4FFF-390E-AFA0-DF31E110DC09}"/>
              </a:ext>
            </a:extLst>
          </p:cNvPr>
          <p:cNvSpPr txBox="1"/>
          <p:nvPr/>
        </p:nvSpPr>
        <p:spPr>
          <a:xfrm>
            <a:off x="6488282" y="3915263"/>
            <a:ext cx="8666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ja-JP" altLang="en-US" sz="900" b="1" dirty="0">
                <a:solidFill>
                  <a:srgbClr val="FF0000"/>
                </a:solidFill>
              </a:rPr>
              <a:t>関東太郎</a:t>
            </a:r>
            <a:endParaRPr kumimoji="1" lang="en-US" altLang="ja-JP" sz="9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85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80C822-F04F-8FC0-66AB-2711BF86C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3E5B032-A1E0-5116-F729-1D973FDB3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3E5B032-A1E0-5116-F729-1D973FDB3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2502819-49E6-EF28-7423-26CB9265702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61FBFF77-A4EA-4A53-79D2-0693FC0BF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ＭＳ Ｐゴシック (太字)"/>
                <a:ea typeface="Meiryo UI" panose="020B0604030504040204" pitchFamily="50" charset="-128"/>
              </a:rPr>
              <a:pPr/>
              <a:t>2</a:t>
            </a:fld>
            <a:endParaRPr lang="ja" altLang="en-US">
              <a:latin typeface="ＭＳ Ｐゴシック (太字)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DC89762-EB2E-A71F-FBA6-316B0B5ADB85}"/>
              </a:ext>
            </a:extLst>
          </p:cNvPr>
          <p:cNvSpPr txBox="1"/>
          <p:nvPr/>
        </p:nvSpPr>
        <p:spPr>
          <a:xfrm>
            <a:off x="2983524" y="6493385"/>
            <a:ext cx="3587842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ＭＳ Ｐゴシック (太字)"/>
              </a:rPr>
              <a:t>ASFEEL</a:t>
            </a:r>
            <a:r>
              <a:rPr lang="en-US" altLang="ja-JP" sz="1200">
                <a:solidFill>
                  <a:schemeClr val="bg1"/>
                </a:solidFill>
                <a:effectLst/>
                <a:latin typeface="ＭＳ Ｐゴシック (太字)"/>
              </a:rPr>
              <a:t>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ＭＳ Ｐゴシック (太字)"/>
              </a:rPr>
              <a:t> All Rights Reserved.</a:t>
            </a:r>
          </a:p>
        </p:txBody>
      </p:sp>
      <p:pic>
        <p:nvPicPr>
          <p:cNvPr id="4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74C938BA-9242-5EA2-39CB-694E1E210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455" y="111287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FA4F4B0-27B4-26EE-D050-F108B613BF7C}"/>
              </a:ext>
            </a:extLst>
          </p:cNvPr>
          <p:cNvSpPr txBox="1"/>
          <p:nvPr/>
        </p:nvSpPr>
        <p:spPr>
          <a:xfrm>
            <a:off x="145883" y="183987"/>
            <a:ext cx="7179256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lang="ja-JP" altLang="en-US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関東大会参加申込書 </a:t>
            </a:r>
            <a:r>
              <a:rPr lang="en-US" altLang="ja-JP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HP</a:t>
            </a:r>
            <a:r>
              <a:rPr lang="ja-JP" altLang="en-US" sz="2400" b="1" dirty="0">
                <a:solidFill>
                  <a:srgbClr val="0166B3"/>
                </a:solidFill>
                <a:latin typeface="ＭＳ Ｐゴシック (太字)"/>
                <a:ea typeface="游ゴシック" panose="020B0400000000000000" pitchFamily="50" charset="-128"/>
              </a:rPr>
              <a:t>提出の流れ</a:t>
            </a:r>
            <a:endParaRPr kumimoji="1" lang="ja-JP" altLang="en-US" sz="2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3D277462-5191-2CC7-6C4C-4C50812F5DBA}"/>
              </a:ext>
            </a:extLst>
          </p:cNvPr>
          <p:cNvSpPr/>
          <p:nvPr/>
        </p:nvSpPr>
        <p:spPr>
          <a:xfrm>
            <a:off x="1490484" y="1051158"/>
            <a:ext cx="6925032" cy="5702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都県専門部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5A5CCC0C-F15D-5E68-9F9F-3C689CF1067A}"/>
              </a:ext>
            </a:extLst>
          </p:cNvPr>
          <p:cNvSpPr/>
          <p:nvPr/>
        </p:nvSpPr>
        <p:spPr>
          <a:xfrm>
            <a:off x="1490482" y="4793204"/>
            <a:ext cx="3217349" cy="68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都県 事務局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9959B0B9-F8B5-9274-FF44-AFEF0E88086B}"/>
              </a:ext>
            </a:extLst>
          </p:cNvPr>
          <p:cNvSpPr/>
          <p:nvPr/>
        </p:nvSpPr>
        <p:spPr>
          <a:xfrm>
            <a:off x="5198166" y="4786064"/>
            <a:ext cx="3217349" cy="68998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開催都県 専門部</a:t>
            </a:r>
            <a:b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kumimoji="1" lang="ja-JP" altLang="en-US" sz="18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大会本部）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2081B9FE-B8C7-C7C6-49CA-450A1F73E243}"/>
              </a:ext>
            </a:extLst>
          </p:cNvPr>
          <p:cNvSpPr txBox="1"/>
          <p:nvPr/>
        </p:nvSpPr>
        <p:spPr>
          <a:xfrm>
            <a:off x="1233200" y="1489483"/>
            <a:ext cx="1654620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大会参加申込書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C203D4A8-04BE-D8D7-1484-CB6F5F1CA92E}"/>
              </a:ext>
            </a:extLst>
          </p:cNvPr>
          <p:cNvSpPr txBox="1"/>
          <p:nvPr/>
        </p:nvSpPr>
        <p:spPr>
          <a:xfrm>
            <a:off x="7035382" y="1393625"/>
            <a:ext cx="1864613" cy="597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開催県専門部に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直接提出する書類</a:t>
            </a:r>
            <a:endParaRPr kumimoji="1" lang="en-US" altLang="ja-JP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C96A32E8-6617-C880-8D1F-B1DC965942FB}"/>
              </a:ext>
            </a:extLst>
          </p:cNvPr>
          <p:cNvSpPr/>
          <p:nvPr/>
        </p:nvSpPr>
        <p:spPr>
          <a:xfrm>
            <a:off x="1938313" y="2195591"/>
            <a:ext cx="2321688" cy="62588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提出済申込書</a:t>
            </a:r>
            <a:endParaRPr kumimoji="1" lang="en-US" altLang="ja-JP" sz="1600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ダウンロード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045F5EA4-3B58-F59A-8698-16DC787B467D}"/>
              </a:ext>
            </a:extLst>
          </p:cNvPr>
          <p:cNvSpPr/>
          <p:nvPr/>
        </p:nvSpPr>
        <p:spPr>
          <a:xfrm>
            <a:off x="1891644" y="3508784"/>
            <a:ext cx="2415025" cy="59255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内容確認・</a:t>
            </a:r>
            <a:r>
              <a:rPr kumimoji="1" lang="en-US" altLang="ja-JP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化・提出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61CE0B6-628E-0440-03D7-58E49C901ADA}"/>
              </a:ext>
            </a:extLst>
          </p:cNvPr>
          <p:cNvSpPr txBox="1"/>
          <p:nvPr/>
        </p:nvSpPr>
        <p:spPr>
          <a:xfrm>
            <a:off x="920454" y="2320796"/>
            <a:ext cx="1140056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3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  <p:cxnSp>
        <p:nvCxnSpPr>
          <p:cNvPr id="21" name="直線矢印コネクタ 20">
            <a:extLst>
              <a:ext uri="{FF2B5EF4-FFF2-40B4-BE49-F238E27FC236}">
                <a16:creationId xmlns:a16="http://schemas.microsoft.com/office/drawing/2014/main" id="{C75ECC6C-3F09-BECE-0365-8380E07C8EAC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3099157" y="2821477"/>
            <a:ext cx="0" cy="68730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>
            <a:extLst>
              <a:ext uri="{FF2B5EF4-FFF2-40B4-BE49-F238E27FC236}">
                <a16:creationId xmlns:a16="http://schemas.microsoft.com/office/drawing/2014/main" id="{8FB519BE-9511-265C-2919-D86E8A9475B8}"/>
              </a:ext>
            </a:extLst>
          </p:cNvPr>
          <p:cNvCxnSpPr>
            <a:cxnSpLocks/>
            <a:stCxn id="6" idx="2"/>
            <a:endCxn id="24" idx="0"/>
          </p:cNvCxnSpPr>
          <p:nvPr/>
        </p:nvCxnSpPr>
        <p:spPr>
          <a:xfrm>
            <a:off x="3099157" y="4101339"/>
            <a:ext cx="0" cy="69186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左大かっこ 33">
            <a:extLst>
              <a:ext uri="{FF2B5EF4-FFF2-40B4-BE49-F238E27FC236}">
                <a16:creationId xmlns:a16="http://schemas.microsoft.com/office/drawing/2014/main" id="{E91695A6-6B65-FE09-D0EE-BC2022C0ED01}"/>
              </a:ext>
            </a:extLst>
          </p:cNvPr>
          <p:cNvSpPr/>
          <p:nvPr/>
        </p:nvSpPr>
        <p:spPr>
          <a:xfrm>
            <a:off x="1321914" y="3508784"/>
            <a:ext cx="168568" cy="2057129"/>
          </a:xfrm>
          <a:prstGeom prst="leftBracke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8552F309-56C2-E5B1-AEA2-46A6EF1B807D}"/>
              </a:ext>
            </a:extLst>
          </p:cNvPr>
          <p:cNvSpPr txBox="1"/>
          <p:nvPr/>
        </p:nvSpPr>
        <p:spPr>
          <a:xfrm>
            <a:off x="350426" y="4359594"/>
            <a:ext cx="1140056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6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  <p:cxnSp>
        <p:nvCxnSpPr>
          <p:cNvPr id="36" name="直線矢印コネクタ 35">
            <a:extLst>
              <a:ext uri="{FF2B5EF4-FFF2-40B4-BE49-F238E27FC236}">
                <a16:creationId xmlns:a16="http://schemas.microsoft.com/office/drawing/2014/main" id="{3EEF7264-C6A5-7440-26C0-1EEDEFC469CF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3099157" y="1628781"/>
            <a:ext cx="0" cy="56681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四角形: 角を丸くする 39">
            <a:extLst>
              <a:ext uri="{FF2B5EF4-FFF2-40B4-BE49-F238E27FC236}">
                <a16:creationId xmlns:a16="http://schemas.microsoft.com/office/drawing/2014/main" id="{652A4A10-9B5B-3606-1C06-3588FD6CFA22}"/>
              </a:ext>
            </a:extLst>
          </p:cNvPr>
          <p:cNvSpPr/>
          <p:nvPr/>
        </p:nvSpPr>
        <p:spPr>
          <a:xfrm>
            <a:off x="5646001" y="2195591"/>
            <a:ext cx="2321688" cy="62588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様式ダウンロード</a:t>
            </a: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08EAFBA0-8E8F-FA78-5244-DD1C55E35725}"/>
              </a:ext>
            </a:extLst>
          </p:cNvPr>
          <p:cNvSpPr/>
          <p:nvPr/>
        </p:nvSpPr>
        <p:spPr>
          <a:xfrm>
            <a:off x="5646001" y="3593126"/>
            <a:ext cx="2321688" cy="4284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記入・提出</a:t>
            </a:r>
          </a:p>
        </p:txBody>
      </p:sp>
      <p:cxnSp>
        <p:nvCxnSpPr>
          <p:cNvPr id="42" name="直線矢印コネクタ 41">
            <a:extLst>
              <a:ext uri="{FF2B5EF4-FFF2-40B4-BE49-F238E27FC236}">
                <a16:creationId xmlns:a16="http://schemas.microsoft.com/office/drawing/2014/main" id="{4A51FCC0-ACD2-11F9-7ED8-999CC50971BD}"/>
              </a:ext>
            </a:extLst>
          </p:cNvPr>
          <p:cNvCxnSpPr>
            <a:stCxn id="40" idx="2"/>
            <a:endCxn id="41" idx="0"/>
          </p:cNvCxnSpPr>
          <p:nvPr/>
        </p:nvCxnSpPr>
        <p:spPr>
          <a:xfrm>
            <a:off x="6806845" y="2821477"/>
            <a:ext cx="0" cy="77164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線矢印コネクタ 42">
            <a:extLst>
              <a:ext uri="{FF2B5EF4-FFF2-40B4-BE49-F238E27FC236}">
                <a16:creationId xmlns:a16="http://schemas.microsoft.com/office/drawing/2014/main" id="{2C5844D7-9E35-4B86-E4E1-86073C8C9F77}"/>
              </a:ext>
            </a:extLst>
          </p:cNvPr>
          <p:cNvCxnSpPr>
            <a:cxnSpLocks/>
            <a:stCxn id="41" idx="2"/>
          </p:cNvCxnSpPr>
          <p:nvPr/>
        </p:nvCxnSpPr>
        <p:spPr>
          <a:xfrm>
            <a:off x="6806845" y="4021555"/>
            <a:ext cx="0" cy="77164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矢印コネクタ 43">
            <a:extLst>
              <a:ext uri="{FF2B5EF4-FFF2-40B4-BE49-F238E27FC236}">
                <a16:creationId xmlns:a16="http://schemas.microsoft.com/office/drawing/2014/main" id="{652BE7EF-6C68-A98C-2B2A-B7715EF1BF52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6806845" y="1628781"/>
            <a:ext cx="0" cy="56681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FA7C4183-3A52-EA75-62A3-5B4D9749F4A8}"/>
              </a:ext>
            </a:extLst>
          </p:cNvPr>
          <p:cNvSpPr txBox="1"/>
          <p:nvPr/>
        </p:nvSpPr>
        <p:spPr>
          <a:xfrm>
            <a:off x="7857967" y="2320796"/>
            <a:ext cx="1140056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9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  <p:sp>
        <p:nvSpPr>
          <p:cNvPr id="52" name="左大かっこ 51">
            <a:extLst>
              <a:ext uri="{FF2B5EF4-FFF2-40B4-BE49-F238E27FC236}">
                <a16:creationId xmlns:a16="http://schemas.microsoft.com/office/drawing/2014/main" id="{D7FCD054-05EE-8987-3627-C844B09B0ABD}"/>
              </a:ext>
            </a:extLst>
          </p:cNvPr>
          <p:cNvSpPr/>
          <p:nvPr/>
        </p:nvSpPr>
        <p:spPr>
          <a:xfrm rot="10800000">
            <a:off x="8398574" y="3508784"/>
            <a:ext cx="168568" cy="2057129"/>
          </a:xfrm>
          <a:prstGeom prst="leftBracke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0DE932E5-F6F0-1B15-791E-F68D1448EF35}"/>
              </a:ext>
            </a:extLst>
          </p:cNvPr>
          <p:cNvSpPr txBox="1"/>
          <p:nvPr/>
        </p:nvSpPr>
        <p:spPr>
          <a:xfrm>
            <a:off x="8427995" y="4359594"/>
            <a:ext cx="1260281" cy="34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kumimoji="1"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P.11</a:t>
            </a:r>
            <a:r>
              <a:rPr kumimoji="1"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）</a:t>
            </a:r>
          </a:p>
        </p:txBody>
      </p:sp>
    </p:spTree>
    <p:extLst>
      <p:ext uri="{BB962C8B-B14F-4D97-AF65-F5344CB8AC3E}">
        <p14:creationId xmlns:p14="http://schemas.microsoft.com/office/powerpoint/2010/main" val="3559152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8C36-EAEE-3E80-4FAA-FD734CF2E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E7A6B9-23A7-42D6-9F04-D8396E55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E7A6B9-23A7-42D6-9F04-D8396E55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CF032DF-0251-AF02-5CC1-F4FA632723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D55A350-4124-B02D-2B8E-185D6846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3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D5540B-C05D-6A03-0868-F8830AA95640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42B64642-37FC-5CEE-064F-0154A8BA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7AF1D60-0D30-6C0E-BC30-2792C583060C}"/>
              </a:ext>
            </a:extLst>
          </p:cNvPr>
          <p:cNvSpPr txBox="1"/>
          <p:nvPr/>
        </p:nvSpPr>
        <p:spPr>
          <a:xfrm>
            <a:off x="328985" y="2890391"/>
            <a:ext cx="92480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3200" b="1" dirty="0"/>
              <a:t>参加校から提出された申込書のダウンロード方法</a:t>
            </a:r>
            <a:endParaRPr kumimoji="1" lang="en-US" altLang="ja-JP" sz="3200" b="1" dirty="0"/>
          </a:p>
        </p:txBody>
      </p:sp>
    </p:spTree>
    <p:extLst>
      <p:ext uri="{BB962C8B-B14F-4D97-AF65-F5344CB8AC3E}">
        <p14:creationId xmlns:p14="http://schemas.microsoft.com/office/powerpoint/2010/main" val="3323846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8C36-EAEE-3E80-4FAA-FD734CF2E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26E34F9A-C503-1FA7-C7B8-23E8C96E445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35116"/>
          <a:stretch>
            <a:fillRect/>
          </a:stretch>
        </p:blipFill>
        <p:spPr>
          <a:xfrm>
            <a:off x="204113" y="1978092"/>
            <a:ext cx="3795359" cy="3870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E7A6B9-23A7-42D6-9F04-D8396E55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E7A6B9-23A7-42D6-9F04-D8396E55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CF032DF-0251-AF02-5CC1-F4FA632723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D55A350-4124-B02D-2B8E-185D6846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4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D5540B-C05D-6A03-0868-F8830AA95640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3F7E2AEC-3F7D-0E5E-D63B-F70D51761E82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074EB945-F3F9-1589-83A7-C469A1163036}"/>
              </a:ext>
            </a:extLst>
          </p:cNvPr>
          <p:cNvSpPr txBox="1"/>
          <p:nvPr/>
        </p:nvSpPr>
        <p:spPr>
          <a:xfrm>
            <a:off x="145883" y="712292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①大会参加校から提出された申込書をダウンロード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DA7807FE-0962-1DFB-B832-34F5D910E834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58784E1C-9A7A-6F97-C915-6C75A55E5E17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D86DB7F8-D981-3EFD-5D0D-ABC80ED6DB81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BC2142F1-5A5B-9864-A039-52E53D177AC9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7BC871D6-01CC-470A-7240-4C3220892B6D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D97EC89D-ABD6-9A0D-D810-BEA080675CB4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42B64642-37FC-5CEE-064F-0154A8BA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A06D595C-6E40-6599-0B2C-25503571521F}"/>
              </a:ext>
            </a:extLst>
          </p:cNvPr>
          <p:cNvSpPr txBox="1"/>
          <p:nvPr/>
        </p:nvSpPr>
        <p:spPr>
          <a:xfrm>
            <a:off x="204114" y="1541192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【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各都県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】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専門部委員長はこちら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をクリック</a:t>
            </a:r>
          </a:p>
        </p:txBody>
      </p: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7A750B90-8A78-5A51-72D3-FD597515C5B4}"/>
              </a:ext>
            </a:extLst>
          </p:cNvPr>
          <p:cNvSpPr/>
          <p:nvPr/>
        </p:nvSpPr>
        <p:spPr>
          <a:xfrm>
            <a:off x="307631" y="5240903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E1FF1E2-FC49-5C69-16C2-E666E37A5B12}"/>
              </a:ext>
            </a:extLst>
          </p:cNvPr>
          <p:cNvSpPr txBox="1"/>
          <p:nvPr/>
        </p:nvSpPr>
        <p:spPr>
          <a:xfrm>
            <a:off x="4691743" y="1542694"/>
            <a:ext cx="466792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参加校提出の申込書のダウンロード「こちらから」をクリック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5F5C94A0-3B5E-AFC1-9054-187A19CCE694}"/>
              </a:ext>
            </a:extLst>
          </p:cNvPr>
          <p:cNvSpPr txBox="1"/>
          <p:nvPr/>
        </p:nvSpPr>
        <p:spPr>
          <a:xfrm>
            <a:off x="4764313" y="3858535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パスワードを入力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E66E84C8-35E8-1661-9585-A3ACFA9463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591" y="1860295"/>
            <a:ext cx="3718881" cy="790681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4489A816-29CB-1757-0F39-3084EEE796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69020" y="3162145"/>
            <a:ext cx="4888105" cy="4265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7E16ABA-31C6-C5BF-1AFC-85D622EA5115}"/>
              </a:ext>
            </a:extLst>
          </p:cNvPr>
          <p:cNvSpPr txBox="1"/>
          <p:nvPr/>
        </p:nvSpPr>
        <p:spPr>
          <a:xfrm>
            <a:off x="4691743" y="2857144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所属の都県をクリック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30DBDCA-9260-CEE6-0801-40793FE4B65A}"/>
              </a:ext>
            </a:extLst>
          </p:cNvPr>
          <p:cNvSpPr/>
          <p:nvPr/>
        </p:nvSpPr>
        <p:spPr>
          <a:xfrm>
            <a:off x="8460406" y="3409911"/>
            <a:ext cx="1191108" cy="1435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69A61A08-273A-1971-193D-2227E9E139D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64313" y="4514517"/>
            <a:ext cx="3395713" cy="14951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4B6ABEC3-57BC-99F7-CDFE-33807B25BB22}"/>
              </a:ext>
            </a:extLst>
          </p:cNvPr>
          <p:cNvSpPr txBox="1"/>
          <p:nvPr/>
        </p:nvSpPr>
        <p:spPr>
          <a:xfrm>
            <a:off x="5017895" y="4186526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パスワード：各都県名のローマ字表記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27DF1584-0FC1-2B0D-BF32-810DC1DD3CED}"/>
              </a:ext>
            </a:extLst>
          </p:cNvPr>
          <p:cNvSpPr txBox="1"/>
          <p:nvPr/>
        </p:nvSpPr>
        <p:spPr>
          <a:xfrm>
            <a:off x="422704" y="1063031"/>
            <a:ext cx="62392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20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lang="ja-JP" altLang="en-US" sz="120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申込書が提出されるとメール通知が届きます。</a:t>
            </a:r>
            <a:endParaRPr lang="en-US" altLang="ja-JP" sz="120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424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79B60-0926-C063-4D7A-F5039F5203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グループ化 35">
            <a:extLst>
              <a:ext uri="{FF2B5EF4-FFF2-40B4-BE49-F238E27FC236}">
                <a16:creationId xmlns:a16="http://schemas.microsoft.com/office/drawing/2014/main" id="{31DD1A0D-67C2-BD5F-5D6C-83E1AB95A962}"/>
              </a:ext>
            </a:extLst>
          </p:cNvPr>
          <p:cNvGrpSpPr/>
          <p:nvPr/>
        </p:nvGrpSpPr>
        <p:grpSpPr>
          <a:xfrm>
            <a:off x="4905795" y="2765247"/>
            <a:ext cx="2823789" cy="2043386"/>
            <a:chOff x="4905795" y="2973967"/>
            <a:chExt cx="4418401" cy="3197299"/>
          </a:xfrm>
        </p:grpSpPr>
        <p:pic>
          <p:nvPicPr>
            <p:cNvPr id="23" name="図 22">
              <a:extLst>
                <a:ext uri="{FF2B5EF4-FFF2-40B4-BE49-F238E27FC236}">
                  <a16:creationId xmlns:a16="http://schemas.microsoft.com/office/drawing/2014/main" id="{0A785D75-36CA-9716-EA7B-1A74682DA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1" r="51110"/>
            <a:stretch>
              <a:fillRect/>
            </a:stretch>
          </p:blipFill>
          <p:spPr>
            <a:xfrm>
              <a:off x="4905795" y="2973967"/>
              <a:ext cx="4418401" cy="319729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AD8093F6-2631-7BC2-57C7-CD1587124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76000"/>
                      </a14:imgEffect>
                    </a14:imgLayer>
                  </a14:imgProps>
                </a:ext>
              </a:extLst>
            </a:blip>
            <a:srcRect l="1" t="21074" r="51110"/>
            <a:stretch>
              <a:fillRect/>
            </a:stretch>
          </p:blipFill>
          <p:spPr>
            <a:xfrm>
              <a:off x="4905795" y="3647758"/>
              <a:ext cx="4418401" cy="252350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20E26A-FE58-779A-1AA5-F5C05F8708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20E26A-FE58-779A-1AA5-F5C05F870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67DF4519-1781-5BA9-4EFB-BAE1A56627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8E795CF0-DD53-3CEB-A430-270E8CA3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5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259CC6D-67EB-3B9E-3E3E-D08A5B78AA76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50DA99AB-BEE0-F38A-E265-1A9D2CCF871A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360A0F2-26AF-9CBE-5393-5950D9E18DD1}"/>
              </a:ext>
            </a:extLst>
          </p:cNvPr>
          <p:cNvSpPr txBox="1"/>
          <p:nvPr/>
        </p:nvSpPr>
        <p:spPr>
          <a:xfrm>
            <a:off x="145883" y="712292"/>
            <a:ext cx="623928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①大会参加校から提出された申込書をダウンロード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E9736646-A4C3-202F-1A4A-BE3DA8643942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AD6EBA50-2800-E107-B6C0-B9DF9A7FE518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0A58A0C9-9716-7346-A6FD-12CA84312204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7893FDF3-FD43-D77E-4C1A-B9BEF94152E2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0B86556A-F341-1415-180F-4502271ED9A4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C4A7F58C-4663-619D-25CE-CFB7BED2F883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CCCBDDA4-937C-74CD-2033-48A8C94D0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テキスト ボックス 162">
            <a:extLst>
              <a:ext uri="{FF2B5EF4-FFF2-40B4-BE49-F238E27FC236}">
                <a16:creationId xmlns:a16="http://schemas.microsoft.com/office/drawing/2014/main" id="{5B1C3FD5-A9D2-3023-8CC7-6CABE23187E6}"/>
              </a:ext>
            </a:extLst>
          </p:cNvPr>
          <p:cNvSpPr txBox="1"/>
          <p:nvPr/>
        </p:nvSpPr>
        <p:spPr>
          <a:xfrm>
            <a:off x="204114" y="1127332"/>
            <a:ext cx="37953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５．表示されたページ内下部のボタンより、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Google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ドライブにアクセス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BFAD6E7-0452-C0AA-0568-E0F13FAEA661}"/>
              </a:ext>
            </a:extLst>
          </p:cNvPr>
          <p:cNvSpPr txBox="1"/>
          <p:nvPr/>
        </p:nvSpPr>
        <p:spPr>
          <a:xfrm>
            <a:off x="4691743" y="1128834"/>
            <a:ext cx="466792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６．以下の順番の通りクリックし、競技別の提出フォルダにアクセス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CFD0858B-794E-EFF0-8B19-E047C01D53D7}"/>
              </a:ext>
            </a:extLst>
          </p:cNvPr>
          <p:cNvSpPr txBox="1"/>
          <p:nvPr/>
        </p:nvSpPr>
        <p:spPr>
          <a:xfrm>
            <a:off x="4691742" y="2234563"/>
            <a:ext cx="44184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７．表示されている参加申込書ファイルをドラッグで全て選択し、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下記赤枠のダウンロードボタンを押し、全てダウンロードする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9E613F90-A590-A0CD-0E4D-504BD084B7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2634" y="1612711"/>
            <a:ext cx="4156145" cy="25190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29E5C33-BE02-E3D4-F3C0-B22FAB4B27D7}"/>
              </a:ext>
            </a:extLst>
          </p:cNvPr>
          <p:cNvSpPr/>
          <p:nvPr/>
        </p:nvSpPr>
        <p:spPr>
          <a:xfrm>
            <a:off x="357809" y="3698591"/>
            <a:ext cx="3641663" cy="42358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5F998378-415D-BE1B-5359-27E5FB7EBF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17030" y="1489359"/>
            <a:ext cx="1385648" cy="3897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7E764380-CE36-28EC-6F16-0D95F72CF12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48048" y="1472039"/>
            <a:ext cx="1515553" cy="4243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B4B2B404-0CE8-40B1-D029-FB0E4BF6F6C3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r="25866"/>
          <a:stretch>
            <a:fillRect/>
          </a:stretch>
        </p:blipFill>
        <p:spPr>
          <a:xfrm>
            <a:off x="8608970" y="1480699"/>
            <a:ext cx="1014396" cy="4070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二等辺三角形 18">
            <a:extLst>
              <a:ext uri="{FF2B5EF4-FFF2-40B4-BE49-F238E27FC236}">
                <a16:creationId xmlns:a16="http://schemas.microsoft.com/office/drawing/2014/main" id="{805F5C8D-4F2D-136E-2B3B-F1D98517EE57}"/>
              </a:ext>
            </a:extLst>
          </p:cNvPr>
          <p:cNvSpPr/>
          <p:nvPr/>
        </p:nvSpPr>
        <p:spPr>
          <a:xfrm rot="5400000">
            <a:off x="6279313" y="1572517"/>
            <a:ext cx="292100" cy="22339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二等辺三角形 20">
            <a:extLst>
              <a:ext uri="{FF2B5EF4-FFF2-40B4-BE49-F238E27FC236}">
                <a16:creationId xmlns:a16="http://schemas.microsoft.com/office/drawing/2014/main" id="{9A2F4C1C-830C-067D-9FBD-9C89529FAF74}"/>
              </a:ext>
            </a:extLst>
          </p:cNvPr>
          <p:cNvSpPr/>
          <p:nvPr/>
        </p:nvSpPr>
        <p:spPr>
          <a:xfrm rot="5400000">
            <a:off x="8240236" y="1572517"/>
            <a:ext cx="292100" cy="22339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6F1DD4F-3DBF-5C25-7E71-1180775FAFBC}"/>
              </a:ext>
            </a:extLst>
          </p:cNvPr>
          <p:cNvSpPr/>
          <p:nvPr/>
        </p:nvSpPr>
        <p:spPr>
          <a:xfrm>
            <a:off x="5610225" y="2812256"/>
            <a:ext cx="180975" cy="1643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8" name="図 37">
            <a:extLst>
              <a:ext uri="{FF2B5EF4-FFF2-40B4-BE49-F238E27FC236}">
                <a16:creationId xmlns:a16="http://schemas.microsoft.com/office/drawing/2014/main" id="{D49241FB-4FCF-773D-FB0F-66AE77BE4A7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452" t="2376" r="84829" b="90399"/>
          <a:stretch>
            <a:fillRect/>
          </a:stretch>
        </p:blipFill>
        <p:spPr>
          <a:xfrm>
            <a:off x="7888669" y="2765247"/>
            <a:ext cx="1376927" cy="1294482"/>
          </a:xfrm>
          <a:prstGeom prst="rect">
            <a:avLst/>
          </a:prstGeom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67502212-C2E0-DB75-F110-354097E56038}"/>
              </a:ext>
            </a:extLst>
          </p:cNvPr>
          <p:cNvSpPr txBox="1"/>
          <p:nvPr/>
        </p:nvSpPr>
        <p:spPr>
          <a:xfrm>
            <a:off x="4691742" y="5084443"/>
            <a:ext cx="505854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８．ダウンロードした申込書の内容を確認・承認後、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ファイルにまとめる</a:t>
            </a:r>
          </a:p>
        </p:txBody>
      </p:sp>
      <p:cxnSp>
        <p:nvCxnSpPr>
          <p:cNvPr id="41" name="直線コネクタ 40">
            <a:extLst>
              <a:ext uri="{FF2B5EF4-FFF2-40B4-BE49-F238E27FC236}">
                <a16:creationId xmlns:a16="http://schemas.microsoft.com/office/drawing/2014/main" id="{E25DD02C-1B60-4B75-1AB8-8D1AD8760297}"/>
              </a:ext>
            </a:extLst>
          </p:cNvPr>
          <p:cNvCxnSpPr>
            <a:stCxn id="24" idx="3"/>
            <a:endCxn id="38" idx="1"/>
          </p:cNvCxnSpPr>
          <p:nvPr/>
        </p:nvCxnSpPr>
        <p:spPr>
          <a:xfrm>
            <a:off x="5791200" y="2894410"/>
            <a:ext cx="2097469" cy="51807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3986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65CB9F-FA44-AC5D-8423-E77141EA69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91C189-E2FA-E93D-135C-C2114AE47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91C189-E2FA-E93D-135C-C2114AE47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D911C44D-05D9-D20C-94DF-2ACADACEDE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C1B4C756-0D4E-48B0-C401-3BC0F8F0F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6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A1A283B-EDDE-19AA-B02E-173532306AB6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55B87E13-6906-48C5-BE68-504A749FA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130E4DB5-5754-392E-2171-738C0413C9AD}"/>
              </a:ext>
            </a:extLst>
          </p:cNvPr>
          <p:cNvSpPr txBox="1"/>
          <p:nvPr/>
        </p:nvSpPr>
        <p:spPr>
          <a:xfrm>
            <a:off x="2594833" y="2890391"/>
            <a:ext cx="47163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3200" b="1" dirty="0"/>
              <a:t>都県事務局への提出方法</a:t>
            </a:r>
            <a:endParaRPr kumimoji="1" lang="en-US" altLang="ja-JP" sz="3200" b="1" dirty="0"/>
          </a:p>
        </p:txBody>
      </p:sp>
    </p:spTree>
    <p:extLst>
      <p:ext uri="{BB962C8B-B14F-4D97-AF65-F5344CB8AC3E}">
        <p14:creationId xmlns:p14="http://schemas.microsoft.com/office/powerpoint/2010/main" val="36164248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7F0BE-E1CA-C504-4DC3-E051AA003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C70EC0D-0B87-9785-14C1-B4293B1865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C70EC0D-0B87-9785-14C1-B4293B186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7428945-6EF3-2CCA-47AB-B8D641C41F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222A040-2E8C-D337-D497-25FC27720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7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4CD86C3-8492-A387-3420-127EBD60C831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DFB42BC-14F1-5C9B-42AF-260D4DD2AE89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67AEDD6-1B17-5FEE-0526-E18539E8CC9D}"/>
              </a:ext>
            </a:extLst>
          </p:cNvPr>
          <p:cNvSpPr txBox="1"/>
          <p:nvPr/>
        </p:nvSpPr>
        <p:spPr>
          <a:xfrm>
            <a:off x="145882" y="712292"/>
            <a:ext cx="769509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② ダウンロードした申込書を</a:t>
            </a:r>
            <a:r>
              <a:rPr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ファイルにまとめ、所属都県事務局に提出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D0737182-8C87-4173-182A-B41596C79EAB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FAF7D02-D499-BB1C-BD8D-61C5D10EA332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17AA08B-79C0-6AEA-4D5B-FFC260E82118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93D4AF2-582F-48BE-6315-F42B971572D1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1BC3E691-EE07-0367-EA17-33D4CF891BD0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CBD510E-0E7C-1F73-036E-019AAEA68014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C14FB6B6-18E2-0B5B-0DB2-60A1E898E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1954D9C-1B41-52B3-224D-DF1AEB205951}"/>
              </a:ext>
            </a:extLst>
          </p:cNvPr>
          <p:cNvSpPr txBox="1"/>
          <p:nvPr/>
        </p:nvSpPr>
        <p:spPr>
          <a:xfrm>
            <a:off x="204115" y="4207425"/>
            <a:ext cx="367121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２．所属している都県の事務局に申込書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を提出の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　「こちらから」をクリック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3B3452D0-E7B5-5953-6131-452E8CA258A8}"/>
              </a:ext>
            </a:extLst>
          </p:cNvPr>
          <p:cNvSpPr txBox="1"/>
          <p:nvPr/>
        </p:nvSpPr>
        <p:spPr>
          <a:xfrm>
            <a:off x="4691743" y="2125482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４．パスワードを入力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C9A7C2A8-53A9-EA06-EC0B-44FB2D156D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9020" y="1429092"/>
            <a:ext cx="4888105" cy="4265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24A62F94-1192-675D-B4E3-0D5EC731477F}"/>
              </a:ext>
            </a:extLst>
          </p:cNvPr>
          <p:cNvSpPr txBox="1"/>
          <p:nvPr/>
        </p:nvSpPr>
        <p:spPr>
          <a:xfrm>
            <a:off x="4691743" y="1124091"/>
            <a:ext cx="415714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３．所属の都県をクリック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951AD18-4C32-2D48-2715-0E0E2470AD71}"/>
              </a:ext>
            </a:extLst>
          </p:cNvPr>
          <p:cNvSpPr/>
          <p:nvPr/>
        </p:nvSpPr>
        <p:spPr>
          <a:xfrm>
            <a:off x="8460406" y="1676858"/>
            <a:ext cx="1191108" cy="1435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FCA4B120-795F-7E2E-17B0-9B5083705D43}"/>
              </a:ext>
            </a:extLst>
          </p:cNvPr>
          <p:cNvSpPr txBox="1"/>
          <p:nvPr/>
        </p:nvSpPr>
        <p:spPr>
          <a:xfrm>
            <a:off x="5017895" y="2453473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パスワード：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kanto2026</a:t>
            </a:r>
            <a:endParaRPr lang="ja-JP" altLang="en-US" sz="105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pic>
        <p:nvPicPr>
          <p:cNvPr id="23" name="図 22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AB2B504E-48C0-7736-8892-C2E93A4F124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42696" b="35116"/>
          <a:stretch>
            <a:fillRect/>
          </a:stretch>
        </p:blipFill>
        <p:spPr>
          <a:xfrm>
            <a:off x="338253" y="2784785"/>
            <a:ext cx="3395713" cy="11842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ED7BE101-08C5-B692-44D9-424616840467}"/>
              </a:ext>
            </a:extLst>
          </p:cNvPr>
          <p:cNvSpPr txBox="1"/>
          <p:nvPr/>
        </p:nvSpPr>
        <p:spPr>
          <a:xfrm>
            <a:off x="204114" y="1124091"/>
            <a:ext cx="352985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１．関東高体連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ページ内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【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各都県</a:t>
            </a:r>
            <a:r>
              <a:rPr lang="en-US" altLang="ja-JP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】</a:t>
            </a:r>
            <a:r>
              <a:rPr lang="ja-JP" altLang="en-US" sz="105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専門部委員長はこちら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をクリック</a:t>
            </a:r>
          </a:p>
        </p:txBody>
      </p:sp>
      <p:pic>
        <p:nvPicPr>
          <p:cNvPr id="26" name="図 25" descr="Web サイト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084A523E-8627-9EFA-8F8D-1D6278988A1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-61" b="80723"/>
          <a:stretch>
            <a:fillRect/>
          </a:stretch>
        </p:blipFill>
        <p:spPr>
          <a:xfrm>
            <a:off x="338253" y="1521804"/>
            <a:ext cx="3395713" cy="10321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2124487-F862-66AD-BC31-888C4A561953}"/>
              </a:ext>
            </a:extLst>
          </p:cNvPr>
          <p:cNvSpPr txBox="1"/>
          <p:nvPr/>
        </p:nvSpPr>
        <p:spPr>
          <a:xfrm rot="5400000">
            <a:off x="1860961" y="2461622"/>
            <a:ext cx="35029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</a:t>
            </a:r>
            <a:endParaRPr lang="en-US" altLang="ja-JP" sz="105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～</a:t>
            </a: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31EFEF1F-A50E-F616-B66D-FA16D718DB8D}"/>
              </a:ext>
            </a:extLst>
          </p:cNvPr>
          <p:cNvSpPr/>
          <p:nvPr/>
        </p:nvSpPr>
        <p:spPr>
          <a:xfrm>
            <a:off x="322871" y="3395275"/>
            <a:ext cx="1293018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1" name="図 40">
            <a:extLst>
              <a:ext uri="{FF2B5EF4-FFF2-40B4-BE49-F238E27FC236}">
                <a16:creationId xmlns:a16="http://schemas.microsoft.com/office/drawing/2014/main" id="{D10BBAE3-9816-C9FB-6C72-D56DBE12D7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2831" y="4683731"/>
            <a:ext cx="3602499" cy="795525"/>
          </a:xfrm>
          <a:prstGeom prst="rect">
            <a:avLst/>
          </a:prstGeom>
        </p:spPr>
      </p:pic>
      <p:pic>
        <p:nvPicPr>
          <p:cNvPr id="43" name="図 42">
            <a:extLst>
              <a:ext uri="{FF2B5EF4-FFF2-40B4-BE49-F238E27FC236}">
                <a16:creationId xmlns:a16="http://schemas.microsoft.com/office/drawing/2014/main" id="{C893427F-2850-68BB-F116-A9BB3EF792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70315" y="2467636"/>
            <a:ext cx="2449509" cy="11550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54498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45986-C17B-508B-54D4-07B010E6B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14179B-AAA1-E31C-D329-81295D7D9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14179B-AAA1-E31C-D329-81295D7D9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2CFE28F1-B3E9-DE5A-60EF-4A1790B87C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B21CE7E1-F0AC-7A10-C2EB-645C0B596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8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2C073D0-7BA1-A04F-EC31-A6CB614AC5F3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FC39B502-A281-D171-9B40-4CFDDF2280DD}"/>
              </a:ext>
            </a:extLst>
          </p:cNvPr>
          <p:cNvSpPr txBox="1"/>
          <p:nvPr/>
        </p:nvSpPr>
        <p:spPr>
          <a:xfrm>
            <a:off x="145883" y="183987"/>
            <a:ext cx="6244159" cy="461665"/>
          </a:xfrm>
          <a:prstGeom prst="rect">
            <a:avLst/>
          </a:prstGeom>
          <a:noFill/>
        </p:spPr>
        <p:txBody>
          <a:bodyPr wrap="square" rIns="360000">
            <a:spAutoFit/>
          </a:bodyPr>
          <a:lstStyle/>
          <a:p>
            <a:r>
              <a:rPr kumimoji="1" lang="ja-JP" altLang="en-US" sz="2400" b="1">
                <a:solidFill>
                  <a:srgbClr val="0166B3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詳細手順</a:t>
            </a:r>
            <a:endParaRPr lang="en-US" altLang="ja-JP" sz="2400" b="1">
              <a:solidFill>
                <a:srgbClr val="0166B3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82D732BE-F752-971F-D726-A14189E45C5B}"/>
              </a:ext>
            </a:extLst>
          </p:cNvPr>
          <p:cNvSpPr txBox="1"/>
          <p:nvPr/>
        </p:nvSpPr>
        <p:spPr>
          <a:xfrm>
            <a:off x="145882" y="712292"/>
            <a:ext cx="7695098" cy="34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② ダウンロードした申込書を</a:t>
            </a:r>
            <a:r>
              <a:rPr lang="en-US" altLang="ja-JP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lang="ja-JP" altLang="en-US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ファイルにまとめ、所属都県事務局に提出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BAA57427-4EAC-F68E-F58A-FC5DBD5907F7}"/>
              </a:ext>
            </a:extLst>
          </p:cNvPr>
          <p:cNvSpPr/>
          <p:nvPr/>
        </p:nvSpPr>
        <p:spPr>
          <a:xfrm>
            <a:off x="542750" y="-1611382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誰が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191FD552-F2AF-BF9C-513D-0EB3AF6AFCBE}"/>
              </a:ext>
            </a:extLst>
          </p:cNvPr>
          <p:cNvSpPr/>
          <p:nvPr/>
        </p:nvSpPr>
        <p:spPr>
          <a:xfrm>
            <a:off x="542750" y="-127696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どこで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7ED81116-56BE-33FA-DF77-347CC657F41F}"/>
              </a:ext>
            </a:extLst>
          </p:cNvPr>
          <p:cNvSpPr/>
          <p:nvPr/>
        </p:nvSpPr>
        <p:spPr>
          <a:xfrm>
            <a:off x="542750" y="-942541"/>
            <a:ext cx="1192696" cy="2885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>
                <a:solidFill>
                  <a:schemeClr val="tx1"/>
                </a:solidFill>
              </a:rPr>
              <a:t>何をする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49D04636-3652-09C3-E742-FB17553602E7}"/>
              </a:ext>
            </a:extLst>
          </p:cNvPr>
          <p:cNvSpPr txBox="1"/>
          <p:nvPr/>
        </p:nvSpPr>
        <p:spPr>
          <a:xfrm>
            <a:off x="1735446" y="-159535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（関東高体連）〇〇競技専門部</a:t>
            </a:r>
            <a:endParaRPr lang="ja-JP" sz="140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BEF8CB5-521D-10D4-0293-8119198D8B6C}"/>
              </a:ext>
            </a:extLst>
          </p:cNvPr>
          <p:cNvSpPr txBox="1"/>
          <p:nvPr/>
        </p:nvSpPr>
        <p:spPr>
          <a:xfrm>
            <a:off x="1735446" y="-1263199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sz="1200">
                <a:latin typeface="游ゴシック"/>
                <a:ea typeface="游ゴシック"/>
              </a:rPr>
              <a:t>（関東高体連）</a:t>
            </a:r>
            <a:r>
              <a:rPr lang="ja-JP" altLang="en-US" sz="1200">
                <a:latin typeface="游ゴシック"/>
                <a:ea typeface="游ゴシック"/>
              </a:rPr>
              <a:t>〇〇</a:t>
            </a:r>
            <a:r>
              <a:rPr lang="ja-JP" sz="1200">
                <a:latin typeface="游ゴシック"/>
                <a:ea typeface="游ゴシック"/>
              </a:rPr>
              <a:t>競技</a:t>
            </a:r>
            <a:r>
              <a:rPr lang="ja-JP" altLang="en-US" sz="1200">
                <a:latin typeface="游ゴシック"/>
                <a:ea typeface="游ゴシック"/>
              </a:rPr>
              <a:t>専門部ページの編集モード</a:t>
            </a:r>
            <a:endParaRPr lang="en-US" altLang="zh-TW" sz="1200">
              <a:latin typeface="游ゴシック"/>
              <a:ea typeface="游ゴシック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EF91C2C9-26EF-1EC7-E8B6-CA4DCCE0F8BD}"/>
              </a:ext>
            </a:extLst>
          </p:cNvPr>
          <p:cNvSpPr txBox="1"/>
          <p:nvPr/>
        </p:nvSpPr>
        <p:spPr>
          <a:xfrm>
            <a:off x="1735446" y="-931038"/>
            <a:ext cx="732389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200">
                <a:latin typeface="游ゴシック"/>
                <a:ea typeface="游ゴシック"/>
              </a:rPr>
              <a:t>「お知らせ」に各種書類（大会要項・参加申込書・プログラム原稿等）を掲載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20F139E0-B8B6-EA0A-9157-DB8A723149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図 44">
            <a:extLst>
              <a:ext uri="{FF2B5EF4-FFF2-40B4-BE49-F238E27FC236}">
                <a16:creationId xmlns:a16="http://schemas.microsoft.com/office/drawing/2014/main" id="{D0301557-41A1-A28A-6748-C258D12855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97741" y="1606054"/>
            <a:ext cx="4670788" cy="41894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EE2A06E4-740C-6809-3E94-873181695F82}"/>
              </a:ext>
            </a:extLst>
          </p:cNvPr>
          <p:cNvSpPr txBox="1"/>
          <p:nvPr/>
        </p:nvSpPr>
        <p:spPr>
          <a:xfrm>
            <a:off x="204114" y="1124091"/>
            <a:ext cx="43059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５．提出フォームで前項で作成した</a:t>
            </a:r>
            <a:r>
              <a:rPr lang="en-US" altLang="ja-JP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ZIP</a:t>
            </a:r>
            <a:r>
              <a:rPr lang="ja-JP" altLang="en-US" sz="105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ファイルを提出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913FAF56-680E-CD43-5500-9E2F48A86B7D}"/>
              </a:ext>
            </a:extLst>
          </p:cNvPr>
          <p:cNvSpPr/>
          <p:nvPr/>
        </p:nvSpPr>
        <p:spPr>
          <a:xfrm>
            <a:off x="5087123" y="3444474"/>
            <a:ext cx="3305175" cy="2793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F80B1D8C-1708-FB43-D29F-5C98CB114CC3}"/>
              </a:ext>
            </a:extLst>
          </p:cNvPr>
          <p:cNvSpPr/>
          <p:nvPr/>
        </p:nvSpPr>
        <p:spPr>
          <a:xfrm>
            <a:off x="5087123" y="3903884"/>
            <a:ext cx="3327304" cy="2793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142D9BFB-DE59-0C76-6674-1F792F2CCB4B}"/>
              </a:ext>
            </a:extLst>
          </p:cNvPr>
          <p:cNvSpPr txBox="1"/>
          <p:nvPr/>
        </p:nvSpPr>
        <p:spPr>
          <a:xfrm>
            <a:off x="6488282" y="3467588"/>
            <a:ext cx="8666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ja-JP" sz="900" b="1" dirty="0">
                <a:solidFill>
                  <a:srgbClr val="FF0000"/>
                </a:solidFill>
              </a:rPr>
              <a:t>01</a:t>
            </a:r>
            <a:r>
              <a:rPr kumimoji="1" lang="ja-JP" altLang="en-US" sz="900" b="1" dirty="0">
                <a:solidFill>
                  <a:srgbClr val="FF0000"/>
                </a:solidFill>
              </a:rPr>
              <a:t>陸上</a:t>
            </a:r>
            <a:endParaRPr kumimoji="1" lang="en-US" altLang="ja-JP" sz="900" b="1" dirty="0">
              <a:solidFill>
                <a:srgbClr val="FF0000"/>
              </a:solidFill>
            </a:endParaRPr>
          </a:p>
        </p:txBody>
      </p: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BB0A9BDB-E77C-3421-953F-0C84CEF95851}"/>
              </a:ext>
            </a:extLst>
          </p:cNvPr>
          <p:cNvSpPr/>
          <p:nvPr/>
        </p:nvSpPr>
        <p:spPr>
          <a:xfrm>
            <a:off x="137471" y="1806064"/>
            <a:ext cx="4782335" cy="1468791"/>
          </a:xfrm>
          <a:prstGeom prst="roundRect">
            <a:avLst>
              <a:gd name="adj" fmla="val 800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①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「所属（専門部・学校名）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</a:rPr>
              <a:t>プルダウンより、</a:t>
            </a:r>
            <a:r>
              <a:rPr kumimoji="1" lang="ja-JP" altLang="en-US" sz="1400" dirty="0">
                <a:solidFill>
                  <a:srgbClr val="FF0000"/>
                </a:solidFill>
              </a:rPr>
              <a:t>該当の競技専門部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選択下さい。</a:t>
            </a:r>
            <a:endParaRPr kumimoji="1" lang="en-US" altLang="ja-JP" sz="1400" dirty="0">
              <a:solidFill>
                <a:schemeClr val="tx1"/>
              </a:solidFill>
            </a:endParaRP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EAD65C9A-4C92-DF81-5A29-37CCFCB38C2A}"/>
              </a:ext>
            </a:extLst>
          </p:cNvPr>
          <p:cNvSpPr/>
          <p:nvPr/>
        </p:nvSpPr>
        <p:spPr>
          <a:xfrm>
            <a:off x="137471" y="3718775"/>
            <a:ext cx="4782335" cy="969118"/>
          </a:xfrm>
          <a:prstGeom prst="roundRect">
            <a:avLst>
              <a:gd name="adj" fmla="val 800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400" b="1" dirty="0">
                <a:solidFill>
                  <a:schemeClr val="bg1"/>
                </a:solidFill>
                <a:highlight>
                  <a:srgbClr val="FF0000"/>
                </a:highlight>
              </a:rPr>
              <a:t>ルール②</a:t>
            </a:r>
            <a:r>
              <a:rPr kumimoji="1" lang="ja-JP" altLang="en-US" sz="1400" b="1" dirty="0">
                <a:solidFill>
                  <a:schemeClr val="bg1"/>
                </a:solidFill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</a:rPr>
              <a:t>「氏名」欄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r>
              <a:rPr kumimoji="1" lang="ja-JP" altLang="en-US" sz="700" b="1" dirty="0">
                <a:solidFill>
                  <a:schemeClr val="tx1"/>
                </a:solidFill>
              </a:rPr>
              <a:t>　</a:t>
            </a:r>
            <a:endParaRPr kumimoji="1" lang="en-US" altLang="ja-JP" sz="1400" b="1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400" dirty="0">
                <a:solidFill>
                  <a:srgbClr val="FF0000"/>
                </a:solidFill>
              </a:rPr>
              <a:t>専門委員長名</a:t>
            </a:r>
            <a:r>
              <a:rPr kumimoji="1" lang="ja-JP" altLang="en-US" sz="1400" dirty="0">
                <a:solidFill>
                  <a:schemeClr val="tx1"/>
                </a:solidFill>
              </a:rPr>
              <a:t>をご入力下さい。</a:t>
            </a:r>
            <a:endParaRPr kumimoji="1" lang="en-US" altLang="ja-JP" sz="1400" dirty="0">
              <a:solidFill>
                <a:schemeClr val="tx1"/>
              </a:solidFill>
            </a:endParaRPr>
          </a:p>
        </p:txBody>
      </p: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D851D213-31E6-412A-9865-26D8883B47AC}"/>
              </a:ext>
            </a:extLst>
          </p:cNvPr>
          <p:cNvCxnSpPr>
            <a:cxnSpLocks/>
            <a:stCxn id="9" idx="3"/>
            <a:endCxn id="4" idx="1"/>
          </p:cNvCxnSpPr>
          <p:nvPr/>
        </p:nvCxnSpPr>
        <p:spPr>
          <a:xfrm>
            <a:off x="4919806" y="2540460"/>
            <a:ext cx="167317" cy="104367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968356C-4DE7-946F-7192-5C4318A489B6}"/>
              </a:ext>
            </a:extLst>
          </p:cNvPr>
          <p:cNvCxnSpPr>
            <a:cxnSpLocks/>
            <a:stCxn id="13" idx="3"/>
            <a:endCxn id="29" idx="1"/>
          </p:cNvCxnSpPr>
          <p:nvPr/>
        </p:nvCxnSpPr>
        <p:spPr>
          <a:xfrm flipV="1">
            <a:off x="4919806" y="4043541"/>
            <a:ext cx="167317" cy="15979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96B2D973-7EA1-53F9-6967-72D429F6FF34}"/>
              </a:ext>
            </a:extLst>
          </p:cNvPr>
          <p:cNvSpPr txBox="1"/>
          <p:nvPr/>
        </p:nvSpPr>
        <p:spPr>
          <a:xfrm>
            <a:off x="6488282" y="3915263"/>
            <a:ext cx="8666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ja-JP" altLang="en-US" sz="900" b="1" dirty="0">
                <a:solidFill>
                  <a:srgbClr val="FF0000"/>
                </a:solidFill>
              </a:rPr>
              <a:t>関東太郎</a:t>
            </a:r>
            <a:endParaRPr kumimoji="1" lang="en-US" altLang="ja-JP" sz="9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399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8C36-EAEE-3E80-4FAA-FD734CF2E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E7A6B9-23A7-42D6-9F04-D8396E55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E7A6B9-23A7-42D6-9F04-D8396E55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1CF032DF-0251-AF02-5CC1-F4FA632723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81001" y="857251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kumimoji="1" lang="ja-JP" altLang="en-US" sz="1800" kern="120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20" name="スライド番号プレースホルダー 19">
            <a:extLst>
              <a:ext uri="{FF2B5EF4-FFF2-40B4-BE49-F238E27FC236}">
                <a16:creationId xmlns:a16="http://schemas.microsoft.com/office/drawing/2014/main" id="{4D55A350-4124-B02D-2B8E-185D68463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-US" altLang="ja" smtClean="0">
                <a:latin typeface="Meiryo UI" panose="020B0604030504040204" pitchFamily="50" charset="-128"/>
                <a:ea typeface="Meiryo UI" panose="020B0604030504040204" pitchFamily="50" charset="-128"/>
              </a:rPr>
              <a:pPr/>
              <a:t>9</a:t>
            </a:fld>
            <a:endParaRPr lang="ja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D5540B-C05D-6A03-0868-F8830AA95640}"/>
              </a:ext>
            </a:extLst>
          </p:cNvPr>
          <p:cNvSpPr txBox="1"/>
          <p:nvPr/>
        </p:nvSpPr>
        <p:spPr>
          <a:xfrm>
            <a:off x="2983524" y="6493385"/>
            <a:ext cx="4068743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Copyright © </a:t>
            </a:r>
            <a:r>
              <a:rPr lang="en-US" altLang="ja-JP" sz="1200">
                <a:solidFill>
                  <a:schemeClr val="bg1"/>
                </a:solidFill>
                <a:latin typeface="Open Sans"/>
              </a:rPr>
              <a:t> </a:t>
            </a:r>
            <a:r>
              <a:rPr lang="en-US" altLang="ja-JP" sz="1200">
                <a:solidFill>
                  <a:schemeClr val="bg1"/>
                </a:solidFill>
                <a:effectLst/>
              </a:rPr>
              <a:t>ASFEEL CO., LTD. </a:t>
            </a:r>
            <a:r>
              <a:rPr lang="en-US" altLang="ja-JP" sz="1200" i="0">
                <a:solidFill>
                  <a:schemeClr val="bg1"/>
                </a:solidFill>
                <a:effectLst/>
                <a:latin typeface="Open Sans"/>
              </a:rPr>
              <a:t> All Rights Reserved.</a:t>
            </a:r>
          </a:p>
        </p:txBody>
      </p:sp>
      <p:pic>
        <p:nvPicPr>
          <p:cNvPr id="47" name="Picture 2" descr="アスフィール株式会社｜採用サイト｜職種と業務内容">
            <a:extLst>
              <a:ext uri="{FF2B5EF4-FFF2-40B4-BE49-F238E27FC236}">
                <a16:creationId xmlns:a16="http://schemas.microsoft.com/office/drawing/2014/main" id="{42B64642-37FC-5CEE-064F-0154A8BA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919" y="324130"/>
            <a:ext cx="984595" cy="19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7AF1D60-0D30-6C0E-BC30-2792C583060C}"/>
              </a:ext>
            </a:extLst>
          </p:cNvPr>
          <p:cNvSpPr txBox="1"/>
          <p:nvPr/>
        </p:nvSpPr>
        <p:spPr>
          <a:xfrm>
            <a:off x="328978" y="3136613"/>
            <a:ext cx="92480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3200" b="1" dirty="0"/>
              <a:t>開催県専門部へ提出する様式のダウンロード方法</a:t>
            </a:r>
            <a:endParaRPr kumimoji="1" lang="en-US" altLang="ja-JP" sz="3200" b="1" dirty="0"/>
          </a:p>
        </p:txBody>
      </p:sp>
    </p:spTree>
    <p:extLst>
      <p:ext uri="{BB962C8B-B14F-4D97-AF65-F5344CB8AC3E}">
        <p14:creationId xmlns:p14="http://schemas.microsoft.com/office/powerpoint/2010/main" val="947516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2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レトロスペクト">
  <a:themeElements>
    <a:clrScheme name="レトロスペクト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レトロスペク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レトロスペクト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4.xml><?xml version="1.0" encoding="utf-8"?>
<a:theme xmlns:a="http://schemas.openxmlformats.org/drawingml/2006/main" name="3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E241D1B64DA4F468C89186740401B53" ma:contentTypeVersion="16" ma:contentTypeDescription="新しいドキュメントを作成します。" ma:contentTypeScope="" ma:versionID="c85f2bca4bcc329d1a2e875f6c4a7b4c">
  <xsd:schema xmlns:xsd="http://www.w3.org/2001/XMLSchema" xmlns:xs="http://www.w3.org/2001/XMLSchema" xmlns:p="http://schemas.microsoft.com/office/2006/metadata/properties" xmlns:ns2="900b4a78-7cd9-4ad1-9312-9e61205b6819" xmlns:ns3="8fb76959-5722-49be-af14-dd9e0cfd2298" targetNamespace="http://schemas.microsoft.com/office/2006/metadata/properties" ma:root="true" ma:fieldsID="752aac090055bb71f80b5ba3ef7d7671" ns2:_="" ns3:_="">
    <xsd:import namespace="900b4a78-7cd9-4ad1-9312-9e61205b6819"/>
    <xsd:import namespace="8fb76959-5722-49be-af14-dd9e0cfd22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b4a78-7cd9-4ad1-9312-9e61205b6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cf883488-3cb2-4d62-83ba-a49226da49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b76959-5722-49be-af14-dd9e0cfd229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cc838d-0b6d-4d17-ab42-eb980138cffd}" ma:internalName="TaxCatchAll" ma:showField="CatchAllData" ma:web="8fb76959-5722-49be-af14-dd9e0cfd22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00b4a78-7cd9-4ad1-9312-9e61205b6819">
      <Terms xmlns="http://schemas.microsoft.com/office/infopath/2007/PartnerControls"/>
    </lcf76f155ced4ddcb4097134ff3c332f>
    <TaxCatchAll xmlns="8fb76959-5722-49be-af14-dd9e0cfd229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CA2E18-05A0-4A72-AD6B-C20E514E44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0b4a78-7cd9-4ad1-9312-9e61205b6819"/>
    <ds:schemaRef ds:uri="8fb76959-5722-49be-af14-dd9e0cfd22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675D09-F526-4F08-9EB7-9F8B55D82816}">
  <ds:schemaRefs>
    <ds:schemaRef ds:uri="900b4a78-7cd9-4ad1-9312-9e61205b6819"/>
    <ds:schemaRef ds:uri="http://schemas.microsoft.com/office/2006/documentManagement/types"/>
    <ds:schemaRef ds:uri="http://purl.org/dc/elements/1.1/"/>
    <ds:schemaRef ds:uri="8fb76959-5722-49be-af14-dd9e0cfd2298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3F3CEAD-A2F1-4015-AF21-A17FAE13C4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2</TotalTime>
  <Words>1121</Words>
  <Application>Microsoft Office PowerPoint</Application>
  <PresentationFormat>A4 210 x 297 mm</PresentationFormat>
  <Paragraphs>166</Paragraphs>
  <Slides>13</Slides>
  <Notes>1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3</vt:i4>
      </vt:variant>
    </vt:vector>
  </HeadingPairs>
  <TitlesOfParts>
    <vt:vector size="26" baseType="lpstr">
      <vt:lpstr>Meiryo UI</vt:lpstr>
      <vt:lpstr>ＭＳ Ｐゴシック (太字)</vt:lpstr>
      <vt:lpstr>游ゴシック</vt:lpstr>
      <vt:lpstr>Arial</vt:lpstr>
      <vt:lpstr>Calibri</vt:lpstr>
      <vt:lpstr>Calibri Light</vt:lpstr>
      <vt:lpstr>Open Sans</vt:lpstr>
      <vt:lpstr>Trebuchet MS</vt:lpstr>
      <vt:lpstr>1_BCG Grid 16:9</vt:lpstr>
      <vt:lpstr>2_BCG Grid 16:9</vt:lpstr>
      <vt:lpstr>レトロスペクト</vt:lpstr>
      <vt:lpstr>3_BCG Grid 16:9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チーム運営を効率化しながら、 生徒の学びの質をグンっと高める 「部活アプリ Plus」のご紹介</dc:title>
  <dc:creator>member</dc:creator>
  <cp:lastModifiedBy>アスフィール 興津 拓</cp:lastModifiedBy>
  <cp:revision>1</cp:revision>
  <cp:lastPrinted>2025-05-21T07:34:17Z</cp:lastPrinted>
  <dcterms:modified xsi:type="dcterms:W3CDTF">2025-12-03T07:0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241D1B64DA4F468C89186740401B53</vt:lpwstr>
  </property>
  <property fmtid="{D5CDD505-2E9C-101B-9397-08002B2CF9AE}" pid="3" name="MediaServiceImageTags">
    <vt:lpwstr/>
  </property>
</Properties>
</file>